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av" ContentType="audio/x-wav"/>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xml" ContentType="application/vnd.openxmlformats-officedocument.presentationml.tags+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3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1.xml" ContentType="application/vnd.openxmlformats-officedocument.themeOverride+xml"/>
  <Override PartName="/ppt/notesSlides/notesSlide3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5" r:id="rId1"/>
  </p:sldMasterIdLst>
  <p:notesMasterIdLst>
    <p:notesMasterId r:id="rId57"/>
  </p:notesMasterIdLst>
  <p:sldIdLst>
    <p:sldId id="257" r:id="rId2"/>
    <p:sldId id="284" r:id="rId3"/>
    <p:sldId id="262" r:id="rId4"/>
    <p:sldId id="3550" r:id="rId5"/>
    <p:sldId id="3568" r:id="rId6"/>
    <p:sldId id="3567" r:id="rId7"/>
    <p:sldId id="3551" r:id="rId8"/>
    <p:sldId id="259" r:id="rId9"/>
    <p:sldId id="3562" r:id="rId10"/>
    <p:sldId id="3569" r:id="rId11"/>
    <p:sldId id="267" r:id="rId12"/>
    <p:sldId id="3552" r:id="rId13"/>
    <p:sldId id="270" r:id="rId14"/>
    <p:sldId id="3553" r:id="rId15"/>
    <p:sldId id="268" r:id="rId16"/>
    <p:sldId id="285" r:id="rId17"/>
    <p:sldId id="3554" r:id="rId18"/>
    <p:sldId id="264" r:id="rId19"/>
    <p:sldId id="3555" r:id="rId20"/>
    <p:sldId id="282" r:id="rId21"/>
    <p:sldId id="3572" r:id="rId22"/>
    <p:sldId id="286" r:id="rId23"/>
    <p:sldId id="3557" r:id="rId24"/>
    <p:sldId id="3556" r:id="rId25"/>
    <p:sldId id="266" r:id="rId26"/>
    <p:sldId id="269" r:id="rId27"/>
    <p:sldId id="3566" r:id="rId28"/>
    <p:sldId id="3570" r:id="rId29"/>
    <p:sldId id="3563" r:id="rId30"/>
    <p:sldId id="3546" r:id="rId31"/>
    <p:sldId id="263" r:id="rId32"/>
    <p:sldId id="3558" r:id="rId33"/>
    <p:sldId id="256" r:id="rId34"/>
    <p:sldId id="3564" r:id="rId35"/>
    <p:sldId id="3559" r:id="rId36"/>
    <p:sldId id="261" r:id="rId37"/>
    <p:sldId id="3560" r:id="rId38"/>
    <p:sldId id="271" r:id="rId39"/>
    <p:sldId id="3547" r:id="rId40"/>
    <p:sldId id="275" r:id="rId41"/>
    <p:sldId id="3573" r:id="rId42"/>
    <p:sldId id="273" r:id="rId43"/>
    <p:sldId id="287" r:id="rId44"/>
    <p:sldId id="3574" r:id="rId45"/>
    <p:sldId id="276" r:id="rId46"/>
    <p:sldId id="277" r:id="rId47"/>
    <p:sldId id="3565" r:id="rId48"/>
    <p:sldId id="278" r:id="rId49"/>
    <p:sldId id="279" r:id="rId50"/>
    <p:sldId id="288" r:id="rId51"/>
    <p:sldId id="283" r:id="rId52"/>
    <p:sldId id="3549" r:id="rId53"/>
    <p:sldId id="3577" r:id="rId54"/>
    <p:sldId id="3561" r:id="rId55"/>
    <p:sldId id="3571" r:id="rId56"/>
  </p:sldIdLst>
  <p:sldSz cx="12192000" cy="6858000"/>
  <p:notesSz cx="6888163" cy="10018713"/>
  <p:custShowLst>
    <p:custShow name="Basisopleiding" id="0">
      <p:sldLst>
        <p:sld r:id="rId2"/>
        <p:sld r:id="rId3"/>
        <p:sld r:id="rId4"/>
        <p:sld r:id="rId9"/>
        <p:sld r:id="rId12"/>
        <p:sld r:id="rId14"/>
        <p:sld r:id="rId16"/>
        <p:sld r:id="rId17"/>
        <p:sld r:id="rId19"/>
        <p:sld r:id="rId21"/>
        <p:sld r:id="rId23"/>
        <p:sld r:id="rId43"/>
        <p:sld r:id="rId44"/>
        <p:sld r:id="rId26"/>
        <p:sld r:id="rId27"/>
      </p:sldLst>
    </p:custShow>
    <p:custShow name="PWP + opleiding" id="1">
      <p:sldLst>
        <p:sld r:id="rId2"/>
        <p:sld r:id="rId32"/>
        <p:sld r:id="rId34"/>
        <p:sld r:id="rId37"/>
        <p:sld r:id="rId39"/>
        <p:sld r:id="rId41"/>
        <p:sld r:id="rId46"/>
        <p:sld r:id="rId47"/>
        <p:sld r:id="rId49"/>
        <p:sld r:id="rId50"/>
        <p:sld r:id="rId51"/>
        <p:sld r:id="rId52"/>
      </p:sldLst>
    </p:custShow>
  </p:custShow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1131CA6-7E38-4DB2-A2D1-B259C625E200}">
          <p14:sldIdLst>
            <p14:sldId id="257"/>
          </p14:sldIdLst>
        </p14:section>
        <p14:section name="Summary" id="{57F6EEF1-1A3F-4161-A306-46392EEC7175}">
          <p14:sldIdLst>
            <p14:sldId id="284"/>
          </p14:sldIdLst>
        </p14:section>
        <p14:section name="Power to the Point" id="{9DEC7AA0-5F85-4924-BACE-484AB0C5C473}">
          <p14:sldIdLst>
            <p14:sldId id="262"/>
            <p14:sldId id="3550"/>
            <p14:sldId id="3568"/>
            <p14:sldId id="3567"/>
            <p14:sldId id="3551"/>
            <p14:sldId id="259"/>
            <p14:sldId id="3562"/>
            <p14:sldId id="3569"/>
          </p14:sldIdLst>
        </p14:section>
        <p14:section name="How does PWP work?" id="{DEC26935-0E96-49E4-8490-D49013EAB72F}">
          <p14:sldIdLst>
            <p14:sldId id="267"/>
            <p14:sldId id="3552"/>
            <p14:sldId id="270"/>
            <p14:sldId id="3553"/>
            <p14:sldId id="268"/>
            <p14:sldId id="285"/>
            <p14:sldId id="3554"/>
            <p14:sldId id="264"/>
            <p14:sldId id="3555"/>
            <p14:sldId id="282"/>
            <p14:sldId id="3572"/>
            <p14:sldId id="286"/>
            <p14:sldId id="3557"/>
            <p14:sldId id="3556"/>
            <p14:sldId id="266"/>
            <p14:sldId id="269"/>
            <p14:sldId id="3566"/>
          </p14:sldIdLst>
        </p14:section>
        <p14:section name="Practice makes ..." id="{10AF6C43-93CF-428E-B835-11784DBFF5B4}">
          <p14:sldIdLst>
            <p14:sldId id="3570"/>
            <p14:sldId id="3563"/>
            <p14:sldId id="3546"/>
          </p14:sldIdLst>
        </p14:section>
        <p14:section name="Tips and Tricks" id="{A0FEB939-748D-4B99-B0C1-C20B590FC268}">
          <p14:sldIdLst>
            <p14:sldId id="263"/>
            <p14:sldId id="3558"/>
            <p14:sldId id="256"/>
            <p14:sldId id="3564"/>
            <p14:sldId id="3559"/>
            <p14:sldId id="261"/>
            <p14:sldId id="3560"/>
            <p14:sldId id="271"/>
          </p14:sldIdLst>
        </p14:section>
        <p14:section name="Data Communication" id="{137BA990-278C-40C1-87BD-E55572F7815A}">
          <p14:sldIdLst>
            <p14:sldId id="3547"/>
            <p14:sldId id="275"/>
            <p14:sldId id="3573"/>
            <p14:sldId id="273"/>
            <p14:sldId id="287"/>
            <p14:sldId id="3574"/>
            <p14:sldId id="276"/>
            <p14:sldId id="277"/>
            <p14:sldId id="3565"/>
            <p14:sldId id="278"/>
            <p14:sldId id="279"/>
            <p14:sldId id="288"/>
          </p14:sldIdLst>
        </p14:section>
        <p14:section name="Extra" id="{771FE6B4-423B-454F-A7A5-9E50C8DF0A72}">
          <p14:sldIdLst>
            <p14:sldId id="283"/>
            <p14:sldId id="3549"/>
            <p14:sldId id="3577"/>
            <p14:sldId id="3561"/>
            <p14:sldId id="3571"/>
          </p14:sldIdLst>
        </p14:section>
      </p14:sectionLst>
    </p:ext>
    <p:ext uri="{EFAFB233-063F-42B5-8137-9DF3F51BA10A}">
      <p15:sldGuideLst xmlns:p15="http://schemas.microsoft.com/office/powerpoint/2012/main">
        <p15:guide id="1" orient="horz" pos="2160" userDrawn="1">
          <p15:clr>
            <a:srgbClr val="A4A3A4"/>
          </p15:clr>
        </p15:guide>
        <p15:guide id="2" pos="73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340F2F-7155-40AB-A331-3FAF49351248}" v="532" dt="2023-11-22T13:23:45.537"/>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57" autoAdjust="0"/>
    <p:restoredTop sz="57572" autoAdjust="0"/>
  </p:normalViewPr>
  <p:slideViewPr>
    <p:cSldViewPr snapToGrid="0">
      <p:cViewPr varScale="1">
        <p:scale>
          <a:sx n="58" d="100"/>
          <a:sy n="58" d="100"/>
        </p:scale>
        <p:origin x="1470" y="60"/>
      </p:cViewPr>
      <p:guideLst>
        <p:guide orient="horz" pos="2160"/>
        <p:guide pos="733"/>
      </p:guideLst>
    </p:cSldViewPr>
  </p:slideViewPr>
  <p:outlineViewPr>
    <p:cViewPr>
      <p:scale>
        <a:sx n="33" d="100"/>
        <a:sy n="33" d="100"/>
      </p:scale>
      <p:origin x="0" y="-1056"/>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Lst>
  </p:outlineViewPr>
  <p:notesTextViewPr>
    <p:cViewPr>
      <p:scale>
        <a:sx n="3" d="2"/>
        <a:sy n="3" d="2"/>
      </p:scale>
      <p:origin x="0" y="0"/>
    </p:cViewPr>
  </p:notesTextViewPr>
  <p:sorterViewPr>
    <p:cViewPr varScale="1">
      <p:scale>
        <a:sx n="1" d="1"/>
        <a:sy n="1" d="1"/>
      </p:scale>
      <p:origin x="0" y="-16320"/>
    </p:cViewPr>
  </p:sorterViewPr>
  <p:notesViewPr>
    <p:cSldViewPr snapToGrid="0">
      <p:cViewPr varScale="1">
        <p:scale>
          <a:sx n="72" d="100"/>
          <a:sy n="72" d="100"/>
        </p:scale>
        <p:origin x="4068"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_rels/viewProps.xml.rels><?xml version="1.0" encoding="UTF-8" standalone="yes"?>
<Relationships xmlns="http://schemas.openxmlformats.org/package/2006/relationships"><Relationship Id="rId8" Type="http://schemas.openxmlformats.org/officeDocument/2006/relationships/slide" Target="slides/slide16.xml"/><Relationship Id="rId13" Type="http://schemas.openxmlformats.org/officeDocument/2006/relationships/slide" Target="slides/slide26.xml"/><Relationship Id="rId18" Type="http://schemas.openxmlformats.org/officeDocument/2006/relationships/slide" Target="slides/slide33.xml"/><Relationship Id="rId26" Type="http://schemas.openxmlformats.org/officeDocument/2006/relationships/slide" Target="slides/slide45.xml"/><Relationship Id="rId3" Type="http://schemas.openxmlformats.org/officeDocument/2006/relationships/slide" Target="slides/slide3.xml"/><Relationship Id="rId21" Type="http://schemas.openxmlformats.org/officeDocument/2006/relationships/slide" Target="slides/slide38.xml"/><Relationship Id="rId7" Type="http://schemas.openxmlformats.org/officeDocument/2006/relationships/slide" Target="slides/slide15.xml"/><Relationship Id="rId12" Type="http://schemas.openxmlformats.org/officeDocument/2006/relationships/slide" Target="slides/slide25.xml"/><Relationship Id="rId17" Type="http://schemas.openxmlformats.org/officeDocument/2006/relationships/slide" Target="slides/slide31.xml"/><Relationship Id="rId25" Type="http://schemas.openxmlformats.org/officeDocument/2006/relationships/slide" Target="slides/slide43.xml"/><Relationship Id="rId2" Type="http://schemas.openxmlformats.org/officeDocument/2006/relationships/slide" Target="slides/slide2.xml"/><Relationship Id="rId16" Type="http://schemas.openxmlformats.org/officeDocument/2006/relationships/slide" Target="slides/slide30.xml"/><Relationship Id="rId20" Type="http://schemas.openxmlformats.org/officeDocument/2006/relationships/slide" Target="slides/slide36.xml"/><Relationship Id="rId29" Type="http://schemas.openxmlformats.org/officeDocument/2006/relationships/slide" Target="slides/slide48.xml"/><Relationship Id="rId1" Type="http://schemas.openxmlformats.org/officeDocument/2006/relationships/slide" Target="slides/slide1.xml"/><Relationship Id="rId6" Type="http://schemas.openxmlformats.org/officeDocument/2006/relationships/slide" Target="slides/slide13.xml"/><Relationship Id="rId11" Type="http://schemas.openxmlformats.org/officeDocument/2006/relationships/slide" Target="slides/slide22.xml"/><Relationship Id="rId24" Type="http://schemas.openxmlformats.org/officeDocument/2006/relationships/slide" Target="slides/slide42.xml"/><Relationship Id="rId32" Type="http://schemas.openxmlformats.org/officeDocument/2006/relationships/slide" Target="slides/slide51.xml"/><Relationship Id="rId5" Type="http://schemas.openxmlformats.org/officeDocument/2006/relationships/slide" Target="slides/slide11.xml"/><Relationship Id="rId15" Type="http://schemas.openxmlformats.org/officeDocument/2006/relationships/slide" Target="slides/slide29.xml"/><Relationship Id="rId23" Type="http://schemas.openxmlformats.org/officeDocument/2006/relationships/slide" Target="slides/slide41.xml"/><Relationship Id="rId28" Type="http://schemas.openxmlformats.org/officeDocument/2006/relationships/slide" Target="slides/slide47.xml"/><Relationship Id="rId10" Type="http://schemas.openxmlformats.org/officeDocument/2006/relationships/slide" Target="slides/slide20.xml"/><Relationship Id="rId19" Type="http://schemas.openxmlformats.org/officeDocument/2006/relationships/slide" Target="slides/slide34.xml"/><Relationship Id="rId31" Type="http://schemas.openxmlformats.org/officeDocument/2006/relationships/slide" Target="slides/slide50.xml"/><Relationship Id="rId4" Type="http://schemas.openxmlformats.org/officeDocument/2006/relationships/slide" Target="slides/slide8.xml"/><Relationship Id="rId9" Type="http://schemas.openxmlformats.org/officeDocument/2006/relationships/slide" Target="slides/slide18.xml"/><Relationship Id="rId14" Type="http://schemas.openxmlformats.org/officeDocument/2006/relationships/slide" Target="slides/slide27.xml"/><Relationship Id="rId22" Type="http://schemas.openxmlformats.org/officeDocument/2006/relationships/slide" Target="slides/slide40.xml"/><Relationship Id="rId27" Type="http://schemas.openxmlformats.org/officeDocument/2006/relationships/slide" Target="slides/slide46.xml"/><Relationship Id="rId30" Type="http://schemas.openxmlformats.org/officeDocument/2006/relationships/slide" Target="slides/slide4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ny P" userId="b214d6bb71249ca5" providerId="LiveId" clId="{0C340F2F-7155-40AB-A331-3FAF49351248}"/>
    <pc:docChg chg="undo custSel addSld delSld modSld sldOrd delMainMaster modMainMaster addSection delSection modSection modShowInfo">
      <pc:chgData name="Danny P" userId="b214d6bb71249ca5" providerId="LiveId" clId="{0C340F2F-7155-40AB-A331-3FAF49351248}" dt="2023-11-22T13:30:00.036" v="1821" actId="478"/>
      <pc:docMkLst>
        <pc:docMk/>
      </pc:docMkLst>
      <pc:sldChg chg="addSp delSp modSp mod modTransition modClrScheme chgLayout">
        <pc:chgData name="Danny P" userId="b214d6bb71249ca5" providerId="LiveId" clId="{0C340F2F-7155-40AB-A331-3FAF49351248}" dt="2023-11-22T12:50:13.007" v="1724" actId="692"/>
        <pc:sldMkLst>
          <pc:docMk/>
          <pc:sldMk cId="595929382" sldId="256"/>
        </pc:sldMkLst>
        <pc:spChg chg="add mod">
          <ac:chgData name="Danny P" userId="b214d6bb71249ca5" providerId="LiveId" clId="{0C340F2F-7155-40AB-A331-3FAF49351248}" dt="2023-11-22T12:50:13.007" v="1724" actId="692"/>
          <ac:spMkLst>
            <pc:docMk/>
            <pc:sldMk cId="595929382" sldId="256"/>
            <ac:spMk id="2" creationId="{B40C5970-06E3-B180-DFEB-255894694496}"/>
          </ac:spMkLst>
        </pc:spChg>
        <pc:spChg chg="add mod">
          <ac:chgData name="Danny P" userId="b214d6bb71249ca5" providerId="LiveId" clId="{0C340F2F-7155-40AB-A331-3FAF49351248}" dt="2023-11-22T12:50:13.007" v="1724" actId="692"/>
          <ac:spMkLst>
            <pc:docMk/>
            <pc:sldMk cId="595929382" sldId="256"/>
            <ac:spMk id="3" creationId="{9F384750-37B6-6D24-738B-EEE40A208385}"/>
          </ac:spMkLst>
        </pc:spChg>
        <pc:spChg chg="add mod">
          <ac:chgData name="Danny P" userId="b214d6bb71249ca5" providerId="LiveId" clId="{0C340F2F-7155-40AB-A331-3FAF49351248}" dt="2023-11-22T12:50:13.007" v="1724" actId="692"/>
          <ac:spMkLst>
            <pc:docMk/>
            <pc:sldMk cId="595929382" sldId="256"/>
            <ac:spMk id="4" creationId="{4952EE6E-99E3-B86F-0E9C-E38988297C4D}"/>
          </ac:spMkLst>
        </pc:spChg>
        <pc:spChg chg="add del mod">
          <ac:chgData name="Danny P" userId="b214d6bb71249ca5" providerId="LiveId" clId="{0C340F2F-7155-40AB-A331-3FAF49351248}" dt="2023-11-15T09:54:19.372" v="39"/>
          <ac:spMkLst>
            <pc:docMk/>
            <pc:sldMk cId="595929382" sldId="256"/>
            <ac:spMk id="4" creationId="{7C480114-CF90-6C1E-CC5C-72D7EC3358D0}"/>
          </ac:spMkLst>
        </pc:spChg>
        <pc:spChg chg="add del mod">
          <ac:chgData name="Danny P" userId="b214d6bb71249ca5" providerId="LiveId" clId="{0C340F2F-7155-40AB-A331-3FAF49351248}" dt="2023-11-15T09:54:19.372" v="39"/>
          <ac:spMkLst>
            <pc:docMk/>
            <pc:sldMk cId="595929382" sldId="256"/>
            <ac:spMk id="5" creationId="{F6E75A58-0403-F0B0-D362-9B1FF0407404}"/>
          </ac:spMkLst>
        </pc:spChg>
        <pc:spChg chg="add del mod">
          <ac:chgData name="Danny P" userId="b214d6bb71249ca5" providerId="LiveId" clId="{0C340F2F-7155-40AB-A331-3FAF49351248}" dt="2023-11-15T09:54:35.007" v="41"/>
          <ac:spMkLst>
            <pc:docMk/>
            <pc:sldMk cId="595929382" sldId="256"/>
            <ac:spMk id="6" creationId="{AA6CBE36-D779-9709-B7B7-338FBCA49698}"/>
          </ac:spMkLst>
        </pc:spChg>
        <pc:spChg chg="mod ord">
          <ac:chgData name="Danny P" userId="b214d6bb71249ca5" providerId="LiveId" clId="{0C340F2F-7155-40AB-A331-3FAF49351248}" dt="2023-11-15T10:24:28.127" v="128"/>
          <ac:spMkLst>
            <pc:docMk/>
            <pc:sldMk cId="595929382" sldId="256"/>
            <ac:spMk id="7" creationId="{00000000-0000-0000-0000-000000000000}"/>
          </ac:spMkLst>
        </pc:spChg>
        <pc:spChg chg="mod ord">
          <ac:chgData name="Danny P" userId="b214d6bb71249ca5" providerId="LiveId" clId="{0C340F2F-7155-40AB-A331-3FAF49351248}" dt="2023-11-22T12:49:27.484" v="1650" actId="167"/>
          <ac:spMkLst>
            <pc:docMk/>
            <pc:sldMk cId="595929382" sldId="256"/>
            <ac:spMk id="8" creationId="{00000000-0000-0000-0000-000000000000}"/>
          </ac:spMkLst>
        </pc:spChg>
        <pc:spChg chg="add del mod">
          <ac:chgData name="Danny P" userId="b214d6bb71249ca5" providerId="LiveId" clId="{0C340F2F-7155-40AB-A331-3FAF49351248}" dt="2023-11-15T09:54:35.007" v="41"/>
          <ac:spMkLst>
            <pc:docMk/>
            <pc:sldMk cId="595929382" sldId="256"/>
            <ac:spMk id="9" creationId="{3A975C1E-F778-4EE4-6820-E82E843520B0}"/>
          </ac:spMkLst>
        </pc:spChg>
        <pc:spChg chg="add del mod">
          <ac:chgData name="Danny P" userId="b214d6bb71249ca5" providerId="LiveId" clId="{0C340F2F-7155-40AB-A331-3FAF49351248}" dt="2023-11-15T10:24:28.127" v="128"/>
          <ac:spMkLst>
            <pc:docMk/>
            <pc:sldMk cId="595929382" sldId="256"/>
            <ac:spMk id="10" creationId="{4393D7AD-8AE9-186D-E19B-2E43931EA449}"/>
          </ac:spMkLst>
        </pc:spChg>
        <pc:spChg chg="add del mod">
          <ac:chgData name="Danny P" userId="b214d6bb71249ca5" providerId="LiveId" clId="{0C340F2F-7155-40AB-A331-3FAF49351248}" dt="2023-11-15T10:24:28.127" v="128"/>
          <ac:spMkLst>
            <pc:docMk/>
            <pc:sldMk cId="595929382" sldId="256"/>
            <ac:spMk id="11" creationId="{B28C9890-F040-2A86-75C0-157F085AF7D9}"/>
          </ac:spMkLst>
        </pc:spChg>
        <pc:grpChg chg="add mod">
          <ac:chgData name="Danny P" userId="b214d6bb71249ca5" providerId="LiveId" clId="{0C340F2F-7155-40AB-A331-3FAF49351248}" dt="2023-11-22T12:41:47.526" v="1624" actId="1076"/>
          <ac:grpSpMkLst>
            <pc:docMk/>
            <pc:sldMk cId="595929382" sldId="256"/>
            <ac:grpSpMk id="5" creationId="{835D3A74-81EC-6017-554C-3588BC4D428A}"/>
          </ac:grpSpMkLst>
        </pc:grpChg>
        <pc:grpChg chg="add mod">
          <ac:chgData name="Danny P" userId="b214d6bb71249ca5" providerId="LiveId" clId="{0C340F2F-7155-40AB-A331-3FAF49351248}" dt="2023-11-22T12:49:01.437" v="1648" actId="1076"/>
          <ac:grpSpMkLst>
            <pc:docMk/>
            <pc:sldMk cId="595929382" sldId="256"/>
            <ac:grpSpMk id="6" creationId="{75C434B0-6BAA-AA5F-E1C5-414219BD3A6C}"/>
          </ac:grpSpMkLst>
        </pc:grpChg>
      </pc:sldChg>
      <pc:sldChg chg="addSp delSp modSp mod modTransition modClrScheme modAnim chgLayout">
        <pc:chgData name="Danny P" userId="b214d6bb71249ca5" providerId="LiveId" clId="{0C340F2F-7155-40AB-A331-3FAF49351248}" dt="2023-11-22T12:00:06.770" v="1530" actId="1076"/>
        <pc:sldMkLst>
          <pc:docMk/>
          <pc:sldMk cId="4103164097" sldId="257"/>
        </pc:sldMkLst>
        <pc:spChg chg="del mod">
          <ac:chgData name="Danny P" userId="b214d6bb71249ca5" providerId="LiveId" clId="{0C340F2F-7155-40AB-A331-3FAF49351248}" dt="2023-11-15T09:49:21.492" v="18" actId="478"/>
          <ac:spMkLst>
            <pc:docMk/>
            <pc:sldMk cId="4103164097" sldId="257"/>
            <ac:spMk id="7" creationId="{79BEEB1B-B271-C988-1151-19DD36EBC8DC}"/>
          </ac:spMkLst>
        </pc:spChg>
        <pc:spChg chg="del mod ord">
          <ac:chgData name="Danny P" userId="b214d6bb71249ca5" providerId="LiveId" clId="{0C340F2F-7155-40AB-A331-3FAF49351248}" dt="2023-11-15T09:57:06.927" v="113" actId="478"/>
          <ac:spMkLst>
            <pc:docMk/>
            <pc:sldMk cId="4103164097" sldId="257"/>
            <ac:spMk id="8" creationId="{20482717-399F-6FDF-5730-ECCC5CC921D4}"/>
          </ac:spMkLst>
        </pc:spChg>
        <pc:spChg chg="add del mod">
          <ac:chgData name="Danny P" userId="b214d6bb71249ca5" providerId="LiveId" clId="{0C340F2F-7155-40AB-A331-3FAF49351248}" dt="2023-11-15T09:48:51.971" v="0"/>
          <ac:spMkLst>
            <pc:docMk/>
            <pc:sldMk cId="4103164097" sldId="257"/>
            <ac:spMk id="11" creationId="{CEE291DE-17F3-83E5-9E26-A4A254CD8D06}"/>
          </ac:spMkLst>
        </pc:spChg>
        <pc:spChg chg="add del mod">
          <ac:chgData name="Danny P" userId="b214d6bb71249ca5" providerId="LiveId" clId="{0C340F2F-7155-40AB-A331-3FAF49351248}" dt="2023-11-15T09:48:51.971" v="0"/>
          <ac:spMkLst>
            <pc:docMk/>
            <pc:sldMk cId="4103164097" sldId="257"/>
            <ac:spMk id="12" creationId="{7FAD7B14-3217-7164-91EA-745A5E44C36B}"/>
          </ac:spMkLst>
        </pc:spChg>
        <pc:spChg chg="add mod ord">
          <ac:chgData name="Danny P" userId="b214d6bb71249ca5" providerId="LiveId" clId="{0C340F2F-7155-40AB-A331-3FAF49351248}" dt="2023-11-15T10:29:14.059" v="136"/>
          <ac:spMkLst>
            <pc:docMk/>
            <pc:sldMk cId="4103164097" sldId="257"/>
            <ac:spMk id="13" creationId="{6DA9C885-F4EB-8A18-5012-13C112B9F4DC}"/>
          </ac:spMkLst>
        </pc:spChg>
        <pc:spChg chg="add del mod">
          <ac:chgData name="Danny P" userId="b214d6bb71249ca5" providerId="LiveId" clId="{0C340F2F-7155-40AB-A331-3FAF49351248}" dt="2023-11-15T09:49:30.280" v="19"/>
          <ac:spMkLst>
            <pc:docMk/>
            <pc:sldMk cId="4103164097" sldId="257"/>
            <ac:spMk id="15" creationId="{0C16259F-1553-F489-F271-8FEFC0B30CA4}"/>
          </ac:spMkLst>
        </pc:spChg>
        <pc:spChg chg="add del mod">
          <ac:chgData name="Danny P" userId="b214d6bb71249ca5" providerId="LiveId" clId="{0C340F2F-7155-40AB-A331-3FAF49351248}" dt="2023-11-15T09:49:30.280" v="19"/>
          <ac:spMkLst>
            <pc:docMk/>
            <pc:sldMk cId="4103164097" sldId="257"/>
            <ac:spMk id="16" creationId="{CD997D9C-1F40-1AAA-7D2B-D1BB71CB0BBE}"/>
          </ac:spMkLst>
        </pc:spChg>
        <pc:spChg chg="add del mod">
          <ac:chgData name="Danny P" userId="b214d6bb71249ca5" providerId="LiveId" clId="{0C340F2F-7155-40AB-A331-3FAF49351248}" dt="2023-11-15T09:49:30.280" v="19"/>
          <ac:spMkLst>
            <pc:docMk/>
            <pc:sldMk cId="4103164097" sldId="257"/>
            <ac:spMk id="17" creationId="{0C20C204-406E-FF52-EF25-5164050096A6}"/>
          </ac:spMkLst>
        </pc:spChg>
        <pc:spChg chg="add del mod">
          <ac:chgData name="Danny P" userId="b214d6bb71249ca5" providerId="LiveId" clId="{0C340F2F-7155-40AB-A331-3FAF49351248}" dt="2023-11-15T09:54:19.372" v="39"/>
          <ac:spMkLst>
            <pc:docMk/>
            <pc:sldMk cId="4103164097" sldId="257"/>
            <ac:spMk id="18" creationId="{3F591E7B-06DA-728F-1768-30C9E8B32170}"/>
          </ac:spMkLst>
        </pc:spChg>
        <pc:spChg chg="add del mod">
          <ac:chgData name="Danny P" userId="b214d6bb71249ca5" providerId="LiveId" clId="{0C340F2F-7155-40AB-A331-3FAF49351248}" dt="2023-11-15T09:54:19.372" v="39"/>
          <ac:spMkLst>
            <pc:docMk/>
            <pc:sldMk cId="4103164097" sldId="257"/>
            <ac:spMk id="19" creationId="{28105A95-6649-B9DA-5401-0B19BBD3DE57}"/>
          </ac:spMkLst>
        </pc:spChg>
        <pc:spChg chg="add del mod">
          <ac:chgData name="Danny P" userId="b214d6bb71249ca5" providerId="LiveId" clId="{0C340F2F-7155-40AB-A331-3FAF49351248}" dt="2023-11-15T09:54:19.372" v="39"/>
          <ac:spMkLst>
            <pc:docMk/>
            <pc:sldMk cId="4103164097" sldId="257"/>
            <ac:spMk id="20" creationId="{6FA27CA5-4781-FBB9-F89D-AD7F4F0AAF21}"/>
          </ac:spMkLst>
        </pc:spChg>
        <pc:spChg chg="add del mod">
          <ac:chgData name="Danny P" userId="b214d6bb71249ca5" providerId="LiveId" clId="{0C340F2F-7155-40AB-A331-3FAF49351248}" dt="2023-11-15T09:54:32.295" v="40" actId="700"/>
          <ac:spMkLst>
            <pc:docMk/>
            <pc:sldMk cId="4103164097" sldId="257"/>
            <ac:spMk id="21" creationId="{F1797CEF-339F-28AF-95BA-6FF91B6C5775}"/>
          </ac:spMkLst>
        </pc:spChg>
        <pc:spChg chg="add del mod ord">
          <ac:chgData name="Danny P" userId="b214d6bb71249ca5" providerId="LiveId" clId="{0C340F2F-7155-40AB-A331-3FAF49351248}" dt="2023-11-15T09:54:35.007" v="41"/>
          <ac:spMkLst>
            <pc:docMk/>
            <pc:sldMk cId="4103164097" sldId="257"/>
            <ac:spMk id="22" creationId="{51514718-70E9-863E-B531-2542232BD75B}"/>
          </ac:spMkLst>
        </pc:spChg>
        <pc:spChg chg="add del mod">
          <ac:chgData name="Danny P" userId="b214d6bb71249ca5" providerId="LiveId" clId="{0C340F2F-7155-40AB-A331-3FAF49351248}" dt="2023-11-15T09:54:35.007" v="41"/>
          <ac:spMkLst>
            <pc:docMk/>
            <pc:sldMk cId="4103164097" sldId="257"/>
            <ac:spMk id="23" creationId="{278DC3CC-9241-9F53-AD26-DF75D95321CB}"/>
          </ac:spMkLst>
        </pc:spChg>
        <pc:spChg chg="add del mod ord">
          <ac:chgData name="Danny P" userId="b214d6bb71249ca5" providerId="LiveId" clId="{0C340F2F-7155-40AB-A331-3FAF49351248}" dt="2023-11-15T09:54:44.732" v="42" actId="700"/>
          <ac:spMkLst>
            <pc:docMk/>
            <pc:sldMk cId="4103164097" sldId="257"/>
            <ac:spMk id="24" creationId="{9400BF6E-AD2F-9A68-A52C-CD29F6451AC6}"/>
          </ac:spMkLst>
        </pc:spChg>
        <pc:spChg chg="add mod ord">
          <ac:chgData name="Danny P" userId="b214d6bb71249ca5" providerId="LiveId" clId="{0C340F2F-7155-40AB-A331-3FAF49351248}" dt="2023-11-22T12:00:06.770" v="1530" actId="1076"/>
          <ac:spMkLst>
            <pc:docMk/>
            <pc:sldMk cId="4103164097" sldId="257"/>
            <ac:spMk id="25" creationId="{7FBEAF2B-D222-15D5-D69D-281C7681E1D6}"/>
          </ac:spMkLst>
        </pc:spChg>
        <pc:spChg chg="add del mod">
          <ac:chgData name="Danny P" userId="b214d6bb71249ca5" providerId="LiveId" clId="{0C340F2F-7155-40AB-A331-3FAF49351248}" dt="2023-11-15T10:24:28.127" v="128"/>
          <ac:spMkLst>
            <pc:docMk/>
            <pc:sldMk cId="4103164097" sldId="257"/>
            <ac:spMk id="26" creationId="{76B2FF77-82AB-3F0A-D699-1ACCEC9E3995}"/>
          </ac:spMkLst>
        </pc:spChg>
        <pc:spChg chg="add del mod">
          <ac:chgData name="Danny P" userId="b214d6bb71249ca5" providerId="LiveId" clId="{0C340F2F-7155-40AB-A331-3FAF49351248}" dt="2023-11-15T10:24:28.127" v="128"/>
          <ac:spMkLst>
            <pc:docMk/>
            <pc:sldMk cId="4103164097" sldId="257"/>
            <ac:spMk id="27" creationId="{DC541817-94DD-DE97-0D2D-CD4C1C45C3FD}"/>
          </ac:spMkLst>
        </pc:spChg>
        <pc:spChg chg="add del mod">
          <ac:chgData name="Danny P" userId="b214d6bb71249ca5" providerId="LiveId" clId="{0C340F2F-7155-40AB-A331-3FAF49351248}" dt="2023-11-15T10:29:14.059" v="136"/>
          <ac:spMkLst>
            <pc:docMk/>
            <pc:sldMk cId="4103164097" sldId="257"/>
            <ac:spMk id="28" creationId="{8C65BD29-20BF-3513-6C22-AEE9722FB8C6}"/>
          </ac:spMkLst>
        </pc:spChg>
        <pc:spChg chg="add del mod">
          <ac:chgData name="Danny P" userId="b214d6bb71249ca5" providerId="LiveId" clId="{0C340F2F-7155-40AB-A331-3FAF49351248}" dt="2023-11-15T10:29:14.059" v="136"/>
          <ac:spMkLst>
            <pc:docMk/>
            <pc:sldMk cId="4103164097" sldId="257"/>
            <ac:spMk id="29" creationId="{5F34191E-FAEC-DECD-E8B1-A6FC90DE04FC}"/>
          </ac:spMkLst>
        </pc:spChg>
        <pc:picChg chg="add del mod">
          <ac:chgData name="Danny P" userId="b214d6bb71249ca5" providerId="LiveId" clId="{0C340F2F-7155-40AB-A331-3FAF49351248}" dt="2023-11-22T09:36:40.550" v="1440"/>
          <ac:picMkLst>
            <pc:docMk/>
            <pc:sldMk cId="4103164097" sldId="257"/>
            <ac:picMk id="9" creationId="{1EAA57B8-F164-9539-8B7B-16D6E78C9354}"/>
          </ac:picMkLst>
        </pc:picChg>
      </pc:sldChg>
      <pc:sldChg chg="addSp delSp modSp mod modTransition modClrScheme chgLayout modNotesTx">
        <pc:chgData name="Danny P" userId="b214d6bb71249ca5" providerId="LiveId" clId="{0C340F2F-7155-40AB-A331-3FAF49351248}" dt="2023-11-22T09:38:00.437" v="1441"/>
        <pc:sldMkLst>
          <pc:docMk/>
          <pc:sldMk cId="900204837" sldId="259"/>
        </pc:sldMkLst>
        <pc:spChg chg="mod ord">
          <ac:chgData name="Danny P" userId="b214d6bb71249ca5" providerId="LiveId" clId="{0C340F2F-7155-40AB-A331-3FAF49351248}" dt="2023-11-15T10:24:28.127" v="128"/>
          <ac:spMkLst>
            <pc:docMk/>
            <pc:sldMk cId="900204837" sldId="259"/>
            <ac:spMk id="2" creationId="{00000000-0000-0000-0000-000000000000}"/>
          </ac:spMkLst>
        </pc:spChg>
        <pc:spChg chg="del mod ord">
          <ac:chgData name="Danny P" userId="b214d6bb71249ca5" providerId="LiveId" clId="{0C340F2F-7155-40AB-A331-3FAF49351248}" dt="2023-11-15T11:06:49.740" v="211" actId="12084"/>
          <ac:spMkLst>
            <pc:docMk/>
            <pc:sldMk cId="900204837" sldId="259"/>
            <ac:spMk id="3" creationId="{00000000-0000-0000-0000-000000000000}"/>
          </ac:spMkLst>
        </pc:spChg>
        <pc:spChg chg="add del mod">
          <ac:chgData name="Danny P" userId="b214d6bb71249ca5" providerId="LiveId" clId="{0C340F2F-7155-40AB-A331-3FAF49351248}" dt="2023-11-15T09:54:19.372" v="39"/>
          <ac:spMkLst>
            <pc:docMk/>
            <pc:sldMk cId="900204837" sldId="259"/>
            <ac:spMk id="6" creationId="{A3F70E54-5F97-B2B8-8599-BD621C7E8CC1}"/>
          </ac:spMkLst>
        </pc:spChg>
        <pc:spChg chg="add del mod">
          <ac:chgData name="Danny P" userId="b214d6bb71249ca5" providerId="LiveId" clId="{0C340F2F-7155-40AB-A331-3FAF49351248}" dt="2023-11-15T09:54:19.372" v="39"/>
          <ac:spMkLst>
            <pc:docMk/>
            <pc:sldMk cId="900204837" sldId="259"/>
            <ac:spMk id="7" creationId="{65C15CA0-BC74-156B-ED6C-1F29ADB96FF4}"/>
          </ac:spMkLst>
        </pc:spChg>
        <pc:spChg chg="add del mod">
          <ac:chgData name="Danny P" userId="b214d6bb71249ca5" providerId="LiveId" clId="{0C340F2F-7155-40AB-A331-3FAF49351248}" dt="2023-11-15T09:54:35.007" v="41"/>
          <ac:spMkLst>
            <pc:docMk/>
            <pc:sldMk cId="900204837" sldId="259"/>
            <ac:spMk id="8" creationId="{6EDFBEAC-945A-E861-282C-AFB1DCABADD4}"/>
          </ac:spMkLst>
        </pc:spChg>
        <pc:spChg chg="add del mod">
          <ac:chgData name="Danny P" userId="b214d6bb71249ca5" providerId="LiveId" clId="{0C340F2F-7155-40AB-A331-3FAF49351248}" dt="2023-11-15T09:54:35.007" v="41"/>
          <ac:spMkLst>
            <pc:docMk/>
            <pc:sldMk cId="900204837" sldId="259"/>
            <ac:spMk id="9" creationId="{88F604C3-D313-E1FC-FD29-58A6A9FB50B6}"/>
          </ac:spMkLst>
        </pc:spChg>
        <pc:spChg chg="add del mod">
          <ac:chgData name="Danny P" userId="b214d6bb71249ca5" providerId="LiveId" clId="{0C340F2F-7155-40AB-A331-3FAF49351248}" dt="2023-11-15T10:24:28.127" v="128"/>
          <ac:spMkLst>
            <pc:docMk/>
            <pc:sldMk cId="900204837" sldId="259"/>
            <ac:spMk id="10" creationId="{A2D7F657-C4DD-B3B5-4957-80737F7F0B14}"/>
          </ac:spMkLst>
        </pc:spChg>
        <pc:spChg chg="add del mod">
          <ac:chgData name="Danny P" userId="b214d6bb71249ca5" providerId="LiveId" clId="{0C340F2F-7155-40AB-A331-3FAF49351248}" dt="2023-11-15T10:24:28.127" v="128"/>
          <ac:spMkLst>
            <pc:docMk/>
            <pc:sldMk cId="900204837" sldId="259"/>
            <ac:spMk id="11" creationId="{32477B02-3596-C96F-B21B-48E04DE13E19}"/>
          </ac:spMkLst>
        </pc:spChg>
        <pc:graphicFrameChg chg="add mod">
          <ac:chgData name="Danny P" userId="b214d6bb71249ca5" providerId="LiveId" clId="{0C340F2F-7155-40AB-A331-3FAF49351248}" dt="2023-11-15T11:07:53.604" v="213" actId="12100"/>
          <ac:graphicFrameMkLst>
            <pc:docMk/>
            <pc:sldMk cId="900204837" sldId="259"/>
            <ac:graphicFrameMk id="4" creationId="{E65CCAEE-BA19-8A24-B5D7-61D6262A4AC1}"/>
          </ac:graphicFrameMkLst>
        </pc:graphicFrameChg>
      </pc:sldChg>
      <pc:sldChg chg="addSp delSp modSp mod modTransition modClrScheme modAnim chgLayout">
        <pc:chgData name="Danny P" userId="b214d6bb71249ca5" providerId="LiveId" clId="{0C340F2F-7155-40AB-A331-3FAF49351248}" dt="2023-11-22T10:44:24.031" v="1528"/>
        <pc:sldMkLst>
          <pc:docMk/>
          <pc:sldMk cId="3643826930" sldId="260"/>
        </pc:sldMkLst>
        <pc:spChg chg="mod ord">
          <ac:chgData name="Danny P" userId="b214d6bb71249ca5" providerId="LiveId" clId="{0C340F2F-7155-40AB-A331-3FAF49351248}" dt="2023-11-15T11:12:01.977" v="226"/>
          <ac:spMkLst>
            <pc:docMk/>
            <pc:sldMk cId="3643826930" sldId="260"/>
            <ac:spMk id="2" creationId="{CA5D2B9C-6DAB-FD51-0E60-51486E28B915}"/>
          </ac:spMkLst>
        </pc:spChg>
        <pc:spChg chg="add del mod">
          <ac:chgData name="Danny P" userId="b214d6bb71249ca5" providerId="LiveId" clId="{0C340F2F-7155-40AB-A331-3FAF49351248}" dt="2023-11-15T11:12:01.977" v="226"/>
          <ac:spMkLst>
            <pc:docMk/>
            <pc:sldMk cId="3643826930" sldId="260"/>
            <ac:spMk id="3" creationId="{744DDEE7-B274-6A73-6118-2558ACE8422A}"/>
          </ac:spMkLst>
        </pc:spChg>
        <pc:spChg chg="add mod">
          <ac:chgData name="Danny P" userId="b214d6bb71249ca5" providerId="LiveId" clId="{0C340F2F-7155-40AB-A331-3FAF49351248}" dt="2023-11-22T10:39:13.990" v="1490" actId="1076"/>
          <ac:spMkLst>
            <pc:docMk/>
            <pc:sldMk cId="3643826930" sldId="260"/>
            <ac:spMk id="3" creationId="{9BF2CFA0-E525-862D-07D4-BC93D2B48E00}"/>
          </ac:spMkLst>
        </pc:spChg>
        <pc:spChg chg="add del mod">
          <ac:chgData name="Danny P" userId="b214d6bb71249ca5" providerId="LiveId" clId="{0C340F2F-7155-40AB-A331-3FAF49351248}" dt="2023-11-15T11:12:01.977" v="226"/>
          <ac:spMkLst>
            <pc:docMk/>
            <pc:sldMk cId="3643826930" sldId="260"/>
            <ac:spMk id="4" creationId="{21587C32-C3B3-4C97-DA95-48380E43A180}"/>
          </ac:spMkLst>
        </pc:spChg>
        <pc:spChg chg="add del mod">
          <ac:chgData name="Danny P" userId="b214d6bb71249ca5" providerId="LiveId" clId="{0C340F2F-7155-40AB-A331-3FAF49351248}" dt="2023-11-22T10:40:44.357" v="1492" actId="478"/>
          <ac:spMkLst>
            <pc:docMk/>
            <pc:sldMk cId="3643826930" sldId="260"/>
            <ac:spMk id="4" creationId="{A34E8C7E-0074-9B4F-CBA2-887A09CFF4FF}"/>
          </ac:spMkLst>
        </pc:spChg>
        <pc:spChg chg="mod ord">
          <ac:chgData name="Danny P" userId="b214d6bb71249ca5" providerId="LiveId" clId="{0C340F2F-7155-40AB-A331-3FAF49351248}" dt="2023-11-22T09:40:46.793" v="1445" actId="14100"/>
          <ac:spMkLst>
            <pc:docMk/>
            <pc:sldMk cId="3643826930" sldId="260"/>
            <ac:spMk id="5" creationId="{E47BEE24-6CD3-0366-4EEB-0BDF93D220CC}"/>
          </ac:spMkLst>
        </pc:spChg>
        <pc:spChg chg="add del mod">
          <ac:chgData name="Danny P" userId="b214d6bb71249ca5" providerId="LiveId" clId="{0C340F2F-7155-40AB-A331-3FAF49351248}" dt="2023-11-15T09:54:19.372" v="39"/>
          <ac:spMkLst>
            <pc:docMk/>
            <pc:sldMk cId="3643826930" sldId="260"/>
            <ac:spMk id="6" creationId="{1725F992-FD8A-CA67-9846-EC5A7E4833AF}"/>
          </ac:spMkLst>
        </pc:spChg>
        <pc:spChg chg="add mod">
          <ac:chgData name="Danny P" userId="b214d6bb71249ca5" providerId="LiveId" clId="{0C340F2F-7155-40AB-A331-3FAF49351248}" dt="2023-11-22T10:44:24.031" v="1528"/>
          <ac:spMkLst>
            <pc:docMk/>
            <pc:sldMk cId="3643826930" sldId="260"/>
            <ac:spMk id="6" creationId="{FC5E7C92-9FA1-2D05-1199-72AAFC2E9A45}"/>
          </ac:spMkLst>
        </pc:spChg>
        <pc:spChg chg="add del mod">
          <ac:chgData name="Danny P" userId="b214d6bb71249ca5" providerId="LiveId" clId="{0C340F2F-7155-40AB-A331-3FAF49351248}" dt="2023-11-15T09:54:19.372" v="39"/>
          <ac:spMkLst>
            <pc:docMk/>
            <pc:sldMk cId="3643826930" sldId="260"/>
            <ac:spMk id="7" creationId="{2058D574-D46C-20C9-8707-157A82C3459E}"/>
          </ac:spMkLst>
        </pc:spChg>
        <pc:spChg chg="add del mod">
          <ac:chgData name="Danny P" userId="b214d6bb71249ca5" providerId="LiveId" clId="{0C340F2F-7155-40AB-A331-3FAF49351248}" dt="2023-11-15T09:54:35.007" v="41"/>
          <ac:spMkLst>
            <pc:docMk/>
            <pc:sldMk cId="3643826930" sldId="260"/>
            <ac:spMk id="8" creationId="{785FE8B0-6A36-2CD8-FA50-5B96F60951FD}"/>
          </ac:spMkLst>
        </pc:spChg>
        <pc:spChg chg="add del mod">
          <ac:chgData name="Danny P" userId="b214d6bb71249ca5" providerId="LiveId" clId="{0C340F2F-7155-40AB-A331-3FAF49351248}" dt="2023-11-15T09:54:35.007" v="41"/>
          <ac:spMkLst>
            <pc:docMk/>
            <pc:sldMk cId="3643826930" sldId="260"/>
            <ac:spMk id="9" creationId="{6E8ECA88-EE7B-B0C5-B9BD-E14AEE4AFA44}"/>
          </ac:spMkLst>
        </pc:spChg>
        <pc:spChg chg="add del mod">
          <ac:chgData name="Danny P" userId="b214d6bb71249ca5" providerId="LiveId" clId="{0C340F2F-7155-40AB-A331-3FAF49351248}" dt="2023-11-15T09:55:32.017" v="50"/>
          <ac:spMkLst>
            <pc:docMk/>
            <pc:sldMk cId="3643826930" sldId="260"/>
            <ac:spMk id="10" creationId="{2C821A85-B29B-D346-76C4-03CDADB31855}"/>
          </ac:spMkLst>
        </pc:spChg>
        <pc:spChg chg="add del mod">
          <ac:chgData name="Danny P" userId="b214d6bb71249ca5" providerId="LiveId" clId="{0C340F2F-7155-40AB-A331-3FAF49351248}" dt="2023-11-15T09:55:32.017" v="50"/>
          <ac:spMkLst>
            <pc:docMk/>
            <pc:sldMk cId="3643826930" sldId="260"/>
            <ac:spMk id="11" creationId="{02CB3457-6D1D-11E8-9717-1669F273A45F}"/>
          </ac:spMkLst>
        </pc:spChg>
        <pc:spChg chg="add del mod">
          <ac:chgData name="Danny P" userId="b214d6bb71249ca5" providerId="LiveId" clId="{0C340F2F-7155-40AB-A331-3FAF49351248}" dt="2023-11-15T10:24:28.127" v="128"/>
          <ac:spMkLst>
            <pc:docMk/>
            <pc:sldMk cId="3643826930" sldId="260"/>
            <ac:spMk id="12" creationId="{DD573DD3-103E-D469-ED99-0F1B5C498252}"/>
          </ac:spMkLst>
        </pc:spChg>
        <pc:spChg chg="add del mod">
          <ac:chgData name="Danny P" userId="b214d6bb71249ca5" providerId="LiveId" clId="{0C340F2F-7155-40AB-A331-3FAF49351248}" dt="2023-11-15T10:24:28.127" v="128"/>
          <ac:spMkLst>
            <pc:docMk/>
            <pc:sldMk cId="3643826930" sldId="260"/>
            <ac:spMk id="13" creationId="{6750F916-0F97-5D2F-CD3A-728D9BA3C6EC}"/>
          </ac:spMkLst>
        </pc:spChg>
        <pc:grpChg chg="add mod">
          <ac:chgData name="Danny P" userId="b214d6bb71249ca5" providerId="LiveId" clId="{0C340F2F-7155-40AB-A331-3FAF49351248}" dt="2023-11-22T09:40:42.946" v="1444" actId="1076"/>
          <ac:grpSpMkLst>
            <pc:docMk/>
            <pc:sldMk cId="3643826930" sldId="260"/>
            <ac:grpSpMk id="20" creationId="{23BE06CE-FA5F-FBB4-4A8D-752B615A8106}"/>
          </ac:grpSpMkLst>
        </pc:grpChg>
        <pc:picChg chg="add del mod">
          <ac:chgData name="Danny P" userId="b214d6bb71249ca5" providerId="LiveId" clId="{0C340F2F-7155-40AB-A331-3FAF49351248}" dt="2023-11-22T09:36:40.550" v="1440"/>
          <ac:picMkLst>
            <pc:docMk/>
            <pc:sldMk cId="3643826930" sldId="260"/>
            <ac:picMk id="4" creationId="{DA19E730-D570-FBFE-145C-E6356E7838AB}"/>
          </ac:picMkLst>
        </pc:picChg>
        <pc:picChg chg="add mod">
          <ac:chgData name="Danny P" userId="b214d6bb71249ca5" providerId="LiveId" clId="{0C340F2F-7155-40AB-A331-3FAF49351248}" dt="2023-11-15T10:55:32.688" v="207" actId="27349"/>
          <ac:picMkLst>
            <pc:docMk/>
            <pc:sldMk cId="3643826930" sldId="260"/>
            <ac:picMk id="15" creationId="{DF5E328C-9429-61B2-8A82-60D087E9A397}"/>
          </ac:picMkLst>
        </pc:picChg>
        <pc:picChg chg="add mod">
          <ac:chgData name="Danny P" userId="b214d6bb71249ca5" providerId="LiveId" clId="{0C340F2F-7155-40AB-A331-3FAF49351248}" dt="2023-11-15T10:55:32.688" v="207" actId="27349"/>
          <ac:picMkLst>
            <pc:docMk/>
            <pc:sldMk cId="3643826930" sldId="260"/>
            <ac:picMk id="17" creationId="{432830BD-973E-62EB-CF73-6DC88561CE83}"/>
          </ac:picMkLst>
        </pc:picChg>
        <pc:picChg chg="add mod">
          <ac:chgData name="Danny P" userId="b214d6bb71249ca5" providerId="LiveId" clId="{0C340F2F-7155-40AB-A331-3FAF49351248}" dt="2023-11-15T10:55:32.688" v="207" actId="27349"/>
          <ac:picMkLst>
            <pc:docMk/>
            <pc:sldMk cId="3643826930" sldId="260"/>
            <ac:picMk id="19" creationId="{ED73F73A-C2D3-F672-B187-C7293B7546FB}"/>
          </ac:picMkLst>
        </pc:picChg>
      </pc:sldChg>
      <pc:sldChg chg="addSp delSp modSp mod modTransition modClrScheme chgLayout">
        <pc:chgData name="Danny P" userId="b214d6bb71249ca5" providerId="LiveId" clId="{0C340F2F-7155-40AB-A331-3FAF49351248}" dt="2023-11-22T12:51:51.130" v="1780" actId="207"/>
        <pc:sldMkLst>
          <pc:docMk/>
          <pc:sldMk cId="1919564997" sldId="261"/>
        </pc:sldMkLst>
        <pc:spChg chg="add mod">
          <ac:chgData name="Danny P" userId="b214d6bb71249ca5" providerId="LiveId" clId="{0C340F2F-7155-40AB-A331-3FAF49351248}" dt="2023-11-22T12:51:51.130" v="1780" actId="207"/>
          <ac:spMkLst>
            <pc:docMk/>
            <pc:sldMk cId="1919564997" sldId="261"/>
            <ac:spMk id="2" creationId="{94F20F7B-3164-6685-C1E4-844D01C3FE99}"/>
          </ac:spMkLst>
        </pc:spChg>
        <pc:spChg chg="add del mod">
          <ac:chgData name="Danny P" userId="b214d6bb71249ca5" providerId="LiveId" clId="{0C340F2F-7155-40AB-A331-3FAF49351248}" dt="2023-11-15T09:54:19.372" v="39"/>
          <ac:spMkLst>
            <pc:docMk/>
            <pc:sldMk cId="1919564997" sldId="261"/>
            <ac:spMk id="4" creationId="{BB56D874-574A-15D4-9B5E-6EB2E9937956}"/>
          </ac:spMkLst>
        </pc:spChg>
        <pc:spChg chg="add del mod">
          <ac:chgData name="Danny P" userId="b214d6bb71249ca5" providerId="LiveId" clId="{0C340F2F-7155-40AB-A331-3FAF49351248}" dt="2023-11-15T09:54:19.372" v="39"/>
          <ac:spMkLst>
            <pc:docMk/>
            <pc:sldMk cId="1919564997" sldId="261"/>
            <ac:spMk id="5" creationId="{AC65969E-F11A-E20B-BD0F-2475534C8131}"/>
          </ac:spMkLst>
        </pc:spChg>
        <pc:spChg chg="add del mod">
          <ac:chgData name="Danny P" userId="b214d6bb71249ca5" providerId="LiveId" clId="{0C340F2F-7155-40AB-A331-3FAF49351248}" dt="2023-11-15T09:54:35.007" v="41"/>
          <ac:spMkLst>
            <pc:docMk/>
            <pc:sldMk cId="1919564997" sldId="261"/>
            <ac:spMk id="6" creationId="{E0A05999-903C-6894-9020-0CC8F72CB0ED}"/>
          </ac:spMkLst>
        </pc:spChg>
        <pc:spChg chg="mod ord">
          <ac:chgData name="Danny P" userId="b214d6bb71249ca5" providerId="LiveId" clId="{0C340F2F-7155-40AB-A331-3FAF49351248}" dt="2023-11-15T10:24:28.127" v="128"/>
          <ac:spMkLst>
            <pc:docMk/>
            <pc:sldMk cId="1919564997" sldId="261"/>
            <ac:spMk id="7" creationId="{00000000-0000-0000-0000-000000000000}"/>
          </ac:spMkLst>
        </pc:spChg>
        <pc:spChg chg="mod ord">
          <ac:chgData name="Danny P" userId="b214d6bb71249ca5" providerId="LiveId" clId="{0C340F2F-7155-40AB-A331-3FAF49351248}" dt="2023-11-22T12:50:36.722" v="1726" actId="27636"/>
          <ac:spMkLst>
            <pc:docMk/>
            <pc:sldMk cId="1919564997" sldId="261"/>
            <ac:spMk id="8" creationId="{00000000-0000-0000-0000-000000000000}"/>
          </ac:spMkLst>
        </pc:spChg>
        <pc:spChg chg="add del mod">
          <ac:chgData name="Danny P" userId="b214d6bb71249ca5" providerId="LiveId" clId="{0C340F2F-7155-40AB-A331-3FAF49351248}" dt="2023-11-15T09:54:35.007" v="41"/>
          <ac:spMkLst>
            <pc:docMk/>
            <pc:sldMk cId="1919564997" sldId="261"/>
            <ac:spMk id="9" creationId="{D8001CFC-6EA5-B1A3-6D9D-F2868CFD4F8B}"/>
          </ac:spMkLst>
        </pc:spChg>
        <pc:spChg chg="add del mod">
          <ac:chgData name="Danny P" userId="b214d6bb71249ca5" providerId="LiveId" clId="{0C340F2F-7155-40AB-A331-3FAF49351248}" dt="2023-11-15T10:24:28.127" v="128"/>
          <ac:spMkLst>
            <pc:docMk/>
            <pc:sldMk cId="1919564997" sldId="261"/>
            <ac:spMk id="10" creationId="{549AF520-7021-806C-6516-DFBC736A6295}"/>
          </ac:spMkLst>
        </pc:spChg>
        <pc:spChg chg="add del mod">
          <ac:chgData name="Danny P" userId="b214d6bb71249ca5" providerId="LiveId" clId="{0C340F2F-7155-40AB-A331-3FAF49351248}" dt="2023-11-15T10:24:28.127" v="128"/>
          <ac:spMkLst>
            <pc:docMk/>
            <pc:sldMk cId="1919564997" sldId="261"/>
            <ac:spMk id="11" creationId="{155D6919-E3CE-7EF1-086A-E63771754A20}"/>
          </ac:spMkLst>
        </pc:spChg>
      </pc:sldChg>
      <pc:sldChg chg="addSp delSp modSp mod modTransition modClrScheme modAnim chgLayout">
        <pc:chgData name="Danny P" userId="b214d6bb71249ca5" providerId="LiveId" clId="{0C340F2F-7155-40AB-A331-3FAF49351248}" dt="2023-11-22T09:38:00.437" v="1441"/>
        <pc:sldMkLst>
          <pc:docMk/>
          <pc:sldMk cId="1498155843" sldId="262"/>
        </pc:sldMkLst>
        <pc:spChg chg="mod ord">
          <ac:chgData name="Danny P" userId="b214d6bb71249ca5" providerId="LiveId" clId="{0C340F2F-7155-40AB-A331-3FAF49351248}" dt="2023-11-15T10:32:31.847" v="139"/>
          <ac:spMkLst>
            <pc:docMk/>
            <pc:sldMk cId="1498155843" sldId="262"/>
            <ac:spMk id="2" creationId="{0EF5A9FE-498E-6DF4-9016-E1A7DC3CA46A}"/>
          </ac:spMkLst>
        </pc:spChg>
        <pc:spChg chg="add del mod ord">
          <ac:chgData name="Danny P" userId="b214d6bb71249ca5" providerId="LiveId" clId="{0C340F2F-7155-40AB-A331-3FAF49351248}" dt="2023-11-15T09:54:35.007" v="41"/>
          <ac:spMkLst>
            <pc:docMk/>
            <pc:sldMk cId="1498155843" sldId="262"/>
            <ac:spMk id="3" creationId="{E9251A1A-4FFA-1149-D386-E432ECEF7F45}"/>
          </ac:spMkLst>
        </pc:spChg>
        <pc:spChg chg="add del mod">
          <ac:chgData name="Danny P" userId="b214d6bb71249ca5" providerId="LiveId" clId="{0C340F2F-7155-40AB-A331-3FAF49351248}" dt="2023-11-15T09:54:35.007" v="41"/>
          <ac:spMkLst>
            <pc:docMk/>
            <pc:sldMk cId="1498155843" sldId="262"/>
            <ac:spMk id="4" creationId="{AE7EA5B6-34F0-1918-FAD2-BAF4D75D617C}"/>
          </ac:spMkLst>
        </pc:spChg>
        <pc:spChg chg="add del mod ord">
          <ac:chgData name="Danny P" userId="b214d6bb71249ca5" providerId="LiveId" clId="{0C340F2F-7155-40AB-A331-3FAF49351248}" dt="2023-11-15T09:55:06.183" v="44" actId="700"/>
          <ac:spMkLst>
            <pc:docMk/>
            <pc:sldMk cId="1498155843" sldId="262"/>
            <ac:spMk id="6" creationId="{7D2D8C5C-9B68-9DCF-4A80-B2ED4E62D73B}"/>
          </ac:spMkLst>
        </pc:spChg>
        <pc:spChg chg="add del mod ord">
          <ac:chgData name="Danny P" userId="b214d6bb71249ca5" providerId="LiveId" clId="{0C340F2F-7155-40AB-A331-3FAF49351248}" dt="2023-11-15T10:24:22.035" v="127" actId="700"/>
          <ac:spMkLst>
            <pc:docMk/>
            <pc:sldMk cId="1498155843" sldId="262"/>
            <ac:spMk id="7" creationId="{ECADBB7A-6DC2-5CE3-01C0-CCDC5DEE3553}"/>
          </ac:spMkLst>
        </pc:spChg>
        <pc:spChg chg="add del mod ord">
          <ac:chgData name="Danny P" userId="b214d6bb71249ca5" providerId="LiveId" clId="{0C340F2F-7155-40AB-A331-3FAF49351248}" dt="2023-11-15T10:24:28.127" v="128"/>
          <ac:spMkLst>
            <pc:docMk/>
            <pc:sldMk cId="1498155843" sldId="262"/>
            <ac:spMk id="8" creationId="{FE9D2BE4-2D50-6732-87F8-303ABCEAACDF}"/>
          </ac:spMkLst>
        </pc:spChg>
        <pc:spChg chg="add del mod">
          <ac:chgData name="Danny P" userId="b214d6bb71249ca5" providerId="LiveId" clId="{0C340F2F-7155-40AB-A331-3FAF49351248}" dt="2023-11-15T10:24:28.127" v="128"/>
          <ac:spMkLst>
            <pc:docMk/>
            <pc:sldMk cId="1498155843" sldId="262"/>
            <ac:spMk id="9" creationId="{9A929C92-AB9B-DD42-9A73-778EB908A03F}"/>
          </ac:spMkLst>
        </pc:spChg>
        <pc:spChg chg="add del mod ord">
          <ac:chgData name="Danny P" userId="b214d6bb71249ca5" providerId="LiveId" clId="{0C340F2F-7155-40AB-A331-3FAF49351248}" dt="2023-11-15T10:25:00.887" v="130" actId="700"/>
          <ac:spMkLst>
            <pc:docMk/>
            <pc:sldMk cId="1498155843" sldId="262"/>
            <ac:spMk id="10" creationId="{A9AE90A8-96BA-8ACD-5B54-268C9119865B}"/>
          </ac:spMkLst>
        </pc:spChg>
        <pc:spChg chg="add del mod ord">
          <ac:chgData name="Danny P" userId="b214d6bb71249ca5" providerId="LiveId" clId="{0C340F2F-7155-40AB-A331-3FAF49351248}" dt="2023-11-15T10:29:08.409" v="135"/>
          <ac:spMkLst>
            <pc:docMk/>
            <pc:sldMk cId="1498155843" sldId="262"/>
            <ac:spMk id="11" creationId="{11D3830A-DFB6-49B5-17E1-7EE67D2B5EA5}"/>
          </ac:spMkLst>
        </pc:spChg>
        <pc:spChg chg="add del mod">
          <ac:chgData name="Danny P" userId="b214d6bb71249ca5" providerId="LiveId" clId="{0C340F2F-7155-40AB-A331-3FAF49351248}" dt="2023-11-15T10:29:08.409" v="135"/>
          <ac:spMkLst>
            <pc:docMk/>
            <pc:sldMk cId="1498155843" sldId="262"/>
            <ac:spMk id="12" creationId="{0900FCBE-677A-44B8-DF13-CD3557842005}"/>
          </ac:spMkLst>
        </pc:spChg>
        <pc:spChg chg="add del mod">
          <ac:chgData name="Danny P" userId="b214d6bb71249ca5" providerId="LiveId" clId="{0C340F2F-7155-40AB-A331-3FAF49351248}" dt="2023-11-15T10:32:31.847" v="139"/>
          <ac:spMkLst>
            <pc:docMk/>
            <pc:sldMk cId="1498155843" sldId="262"/>
            <ac:spMk id="13" creationId="{0917C811-BCA4-01AB-F31A-6E6956807DE0}"/>
          </ac:spMkLst>
        </pc:spChg>
        <pc:spChg chg="add del mod">
          <ac:chgData name="Danny P" userId="b214d6bb71249ca5" providerId="LiveId" clId="{0C340F2F-7155-40AB-A331-3FAF49351248}" dt="2023-11-15T10:32:31.847" v="139"/>
          <ac:spMkLst>
            <pc:docMk/>
            <pc:sldMk cId="1498155843" sldId="262"/>
            <ac:spMk id="14" creationId="{13FB79A2-492D-9579-4811-F2B7995BBACF}"/>
          </ac:spMkLst>
        </pc:spChg>
        <pc:spChg chg="add mod">
          <ac:chgData name="Danny P" userId="b214d6bb71249ca5" providerId="LiveId" clId="{0C340F2F-7155-40AB-A331-3FAF49351248}" dt="2023-11-15T10:32:31.847" v="139"/>
          <ac:spMkLst>
            <pc:docMk/>
            <pc:sldMk cId="1498155843" sldId="262"/>
            <ac:spMk id="15" creationId="{ABFF0FB7-4273-1688-8DC7-074E27EDC74C}"/>
          </ac:spMkLst>
        </pc:spChg>
        <pc:picChg chg="add del mod">
          <ac:chgData name="Danny P" userId="b214d6bb71249ca5" providerId="LiveId" clId="{0C340F2F-7155-40AB-A331-3FAF49351248}" dt="2023-11-22T09:36:40.550" v="1440"/>
          <ac:picMkLst>
            <pc:docMk/>
            <pc:sldMk cId="1498155843" sldId="262"/>
            <ac:picMk id="4" creationId="{5DE1EA02-E30D-A2E9-1602-0B079A0895A0}"/>
          </ac:picMkLst>
        </pc:picChg>
      </pc:sldChg>
      <pc:sldChg chg="addSp delSp modSp mod modTransition modClrScheme chgLayout">
        <pc:chgData name="Danny P" userId="b214d6bb71249ca5" providerId="LiveId" clId="{0C340F2F-7155-40AB-A331-3FAF49351248}" dt="2023-11-22T09:38:00.437" v="1441"/>
        <pc:sldMkLst>
          <pc:docMk/>
          <pc:sldMk cId="15024458" sldId="263"/>
        </pc:sldMkLst>
        <pc:spChg chg="mod ord">
          <ac:chgData name="Danny P" userId="b214d6bb71249ca5" providerId="LiveId" clId="{0C340F2F-7155-40AB-A331-3FAF49351248}" dt="2023-11-15T10:25:00.887" v="130" actId="700"/>
          <ac:spMkLst>
            <pc:docMk/>
            <pc:sldMk cId="15024458" sldId="263"/>
            <ac:spMk id="2" creationId="{A6C4C213-8B1E-075C-184D-DBD54E4C3C43}"/>
          </ac:spMkLst>
        </pc:spChg>
        <pc:spChg chg="add del mod ord">
          <ac:chgData name="Danny P" userId="b214d6bb71249ca5" providerId="LiveId" clId="{0C340F2F-7155-40AB-A331-3FAF49351248}" dt="2023-11-15T09:54:35.007" v="41"/>
          <ac:spMkLst>
            <pc:docMk/>
            <pc:sldMk cId="15024458" sldId="263"/>
            <ac:spMk id="3" creationId="{26F48049-5482-C60A-6454-45B28EAAE274}"/>
          </ac:spMkLst>
        </pc:spChg>
        <pc:spChg chg="add del mod">
          <ac:chgData name="Danny P" userId="b214d6bb71249ca5" providerId="LiveId" clId="{0C340F2F-7155-40AB-A331-3FAF49351248}" dt="2023-11-15T09:54:35.007" v="41"/>
          <ac:spMkLst>
            <pc:docMk/>
            <pc:sldMk cId="15024458" sldId="263"/>
            <ac:spMk id="4" creationId="{5D73B604-8B90-E25B-73BA-7F44735A3CF6}"/>
          </ac:spMkLst>
        </pc:spChg>
        <pc:spChg chg="add del mod ord">
          <ac:chgData name="Danny P" userId="b214d6bb71249ca5" providerId="LiveId" clId="{0C340F2F-7155-40AB-A331-3FAF49351248}" dt="2023-11-15T09:55:06.183" v="44" actId="700"/>
          <ac:spMkLst>
            <pc:docMk/>
            <pc:sldMk cId="15024458" sldId="263"/>
            <ac:spMk id="6" creationId="{B53AD811-FBAC-478E-6D40-8904D4839567}"/>
          </ac:spMkLst>
        </pc:spChg>
        <pc:spChg chg="add del mod ord">
          <ac:chgData name="Danny P" userId="b214d6bb71249ca5" providerId="LiveId" clId="{0C340F2F-7155-40AB-A331-3FAF49351248}" dt="2023-11-15T10:24:22.035" v="127" actId="700"/>
          <ac:spMkLst>
            <pc:docMk/>
            <pc:sldMk cId="15024458" sldId="263"/>
            <ac:spMk id="7" creationId="{97F890C9-494E-0733-AF07-5DD4D4F7DED9}"/>
          </ac:spMkLst>
        </pc:spChg>
        <pc:spChg chg="add del mod ord">
          <ac:chgData name="Danny P" userId="b214d6bb71249ca5" providerId="LiveId" clId="{0C340F2F-7155-40AB-A331-3FAF49351248}" dt="2023-11-15T10:24:28.127" v="128"/>
          <ac:spMkLst>
            <pc:docMk/>
            <pc:sldMk cId="15024458" sldId="263"/>
            <ac:spMk id="8" creationId="{BB4E85CF-2723-B45E-8DD1-6B8F92A6B725}"/>
          </ac:spMkLst>
        </pc:spChg>
        <pc:spChg chg="add del mod">
          <ac:chgData name="Danny P" userId="b214d6bb71249ca5" providerId="LiveId" clId="{0C340F2F-7155-40AB-A331-3FAF49351248}" dt="2023-11-15T10:24:28.127" v="128"/>
          <ac:spMkLst>
            <pc:docMk/>
            <pc:sldMk cId="15024458" sldId="263"/>
            <ac:spMk id="9" creationId="{06547E1C-9A4E-4A41-5084-3BA22F041FAF}"/>
          </ac:spMkLst>
        </pc:spChg>
        <pc:spChg chg="add del mod ord">
          <ac:chgData name="Danny P" userId="b214d6bb71249ca5" providerId="LiveId" clId="{0C340F2F-7155-40AB-A331-3FAF49351248}" dt="2023-11-15T10:25:00.887" v="130" actId="700"/>
          <ac:spMkLst>
            <pc:docMk/>
            <pc:sldMk cId="15024458" sldId="263"/>
            <ac:spMk id="10" creationId="{FFB10E9E-00E7-B8E4-7931-464528B8B814}"/>
          </ac:spMkLst>
        </pc:spChg>
        <pc:spChg chg="add mod ord">
          <ac:chgData name="Danny P" userId="b214d6bb71249ca5" providerId="LiveId" clId="{0C340F2F-7155-40AB-A331-3FAF49351248}" dt="2023-11-15T10:25:00.887" v="130" actId="700"/>
          <ac:spMkLst>
            <pc:docMk/>
            <pc:sldMk cId="15024458" sldId="263"/>
            <ac:spMk id="11" creationId="{1FE1E02A-06BF-388F-970C-5127498397F4}"/>
          </ac:spMkLst>
        </pc:spChg>
      </pc:sldChg>
      <pc:sldChg chg="addSp delSp modSp mod modTransition setBg modClrScheme chgLayout">
        <pc:chgData name="Danny P" userId="b214d6bb71249ca5" providerId="LiveId" clId="{0C340F2F-7155-40AB-A331-3FAF49351248}" dt="2023-11-22T09:38:00.437" v="1441"/>
        <pc:sldMkLst>
          <pc:docMk/>
          <pc:sldMk cId="4072531004" sldId="264"/>
        </pc:sldMkLst>
        <pc:spChg chg="add mod">
          <ac:chgData name="Danny P" userId="b214d6bb71249ca5" providerId="LiveId" clId="{0C340F2F-7155-40AB-A331-3FAF49351248}" dt="2023-11-15T13:12:58.612" v="877" actId="14100"/>
          <ac:spMkLst>
            <pc:docMk/>
            <pc:sldMk cId="4072531004" sldId="264"/>
            <ac:spMk id="2" creationId="{7469BD47-1BCE-0584-2108-BCFC45DD586F}"/>
          </ac:spMkLst>
        </pc:spChg>
        <pc:spChg chg="add del mod">
          <ac:chgData name="Danny P" userId="b214d6bb71249ca5" providerId="LiveId" clId="{0C340F2F-7155-40AB-A331-3FAF49351248}" dt="2023-11-15T13:08:31.675" v="798"/>
          <ac:spMkLst>
            <pc:docMk/>
            <pc:sldMk cId="4072531004" sldId="264"/>
            <ac:spMk id="3" creationId="{A2C7E9C9-A582-75BB-2A5F-BDC0E22073CF}"/>
          </ac:spMkLst>
        </pc:spChg>
        <pc:spChg chg="mod ord">
          <ac:chgData name="Danny P" userId="b214d6bb71249ca5" providerId="LiveId" clId="{0C340F2F-7155-40AB-A331-3FAF49351248}" dt="2023-11-15T13:07:50.220" v="774" actId="20577"/>
          <ac:spMkLst>
            <pc:docMk/>
            <pc:sldMk cId="4072531004" sldId="264"/>
            <ac:spMk id="4" creationId="{CE5575CC-67E1-42DA-E9E8-8535162444FA}"/>
          </ac:spMkLst>
        </pc:spChg>
        <pc:spChg chg="add del mod">
          <ac:chgData name="Danny P" userId="b214d6bb71249ca5" providerId="LiveId" clId="{0C340F2F-7155-40AB-A331-3FAF49351248}" dt="2023-11-15T09:54:19.372" v="39"/>
          <ac:spMkLst>
            <pc:docMk/>
            <pc:sldMk cId="4072531004" sldId="264"/>
            <ac:spMk id="5" creationId="{22CCEB24-585E-DEAE-496C-8F09C66D809F}"/>
          </ac:spMkLst>
        </pc:spChg>
        <pc:spChg chg="mod ord">
          <ac:chgData name="Danny P" userId="b214d6bb71249ca5" providerId="LiveId" clId="{0C340F2F-7155-40AB-A331-3FAF49351248}" dt="2023-11-15T13:08:29.833" v="796" actId="14100"/>
          <ac:spMkLst>
            <pc:docMk/>
            <pc:sldMk cId="4072531004" sldId="264"/>
            <ac:spMk id="6" creationId="{31CE2F24-5D30-E045-3111-4A9DF54009EE}"/>
          </ac:spMkLst>
        </pc:spChg>
        <pc:spChg chg="add del mod">
          <ac:chgData name="Danny P" userId="b214d6bb71249ca5" providerId="LiveId" clId="{0C340F2F-7155-40AB-A331-3FAF49351248}" dt="2023-11-15T09:54:19.372" v="39"/>
          <ac:spMkLst>
            <pc:docMk/>
            <pc:sldMk cId="4072531004" sldId="264"/>
            <ac:spMk id="7" creationId="{F5943E98-914F-EAE1-C1DA-190C7E9E3F33}"/>
          </ac:spMkLst>
        </pc:spChg>
        <pc:spChg chg="add del mod">
          <ac:chgData name="Danny P" userId="b214d6bb71249ca5" providerId="LiveId" clId="{0C340F2F-7155-40AB-A331-3FAF49351248}" dt="2023-11-15T09:54:35.007" v="41"/>
          <ac:spMkLst>
            <pc:docMk/>
            <pc:sldMk cId="4072531004" sldId="264"/>
            <ac:spMk id="8" creationId="{28D366D3-A05F-1B40-EE6E-E11DDE3F1CCE}"/>
          </ac:spMkLst>
        </pc:spChg>
        <pc:spChg chg="add del mod">
          <ac:chgData name="Danny P" userId="b214d6bb71249ca5" providerId="LiveId" clId="{0C340F2F-7155-40AB-A331-3FAF49351248}" dt="2023-11-15T09:54:35.007" v="41"/>
          <ac:spMkLst>
            <pc:docMk/>
            <pc:sldMk cId="4072531004" sldId="264"/>
            <ac:spMk id="9" creationId="{27BB85F5-4163-1032-A8CC-69788DB67F84}"/>
          </ac:spMkLst>
        </pc:spChg>
        <pc:spChg chg="add del mod">
          <ac:chgData name="Danny P" userId="b214d6bb71249ca5" providerId="LiveId" clId="{0C340F2F-7155-40AB-A331-3FAF49351248}" dt="2023-11-15T10:24:28.127" v="128"/>
          <ac:spMkLst>
            <pc:docMk/>
            <pc:sldMk cId="4072531004" sldId="264"/>
            <ac:spMk id="10" creationId="{18436272-7CD0-2CC0-0384-0C85BA1CC9C7}"/>
          </ac:spMkLst>
        </pc:spChg>
        <pc:spChg chg="add del mod">
          <ac:chgData name="Danny P" userId="b214d6bb71249ca5" providerId="LiveId" clId="{0C340F2F-7155-40AB-A331-3FAF49351248}" dt="2023-11-15T10:24:28.127" v="128"/>
          <ac:spMkLst>
            <pc:docMk/>
            <pc:sldMk cId="4072531004" sldId="264"/>
            <ac:spMk id="11" creationId="{C0B01CE5-8D6B-8437-EE47-8F821FA38C3B}"/>
          </ac:spMkLst>
        </pc:spChg>
      </pc:sldChg>
      <pc:sldChg chg="addSp delSp modSp mod modTransition modClrScheme chgLayout">
        <pc:chgData name="Danny P" userId="b214d6bb71249ca5" providerId="LiveId" clId="{0C340F2F-7155-40AB-A331-3FAF49351248}" dt="2023-11-22T09:38:00.437" v="1441"/>
        <pc:sldMkLst>
          <pc:docMk/>
          <pc:sldMk cId="1645206423" sldId="266"/>
        </pc:sldMkLst>
        <pc:spChg chg="mod ord">
          <ac:chgData name="Danny P" userId="b214d6bb71249ca5" providerId="LiveId" clId="{0C340F2F-7155-40AB-A331-3FAF49351248}" dt="2023-11-15T10:24:28.127" v="128"/>
          <ac:spMkLst>
            <pc:docMk/>
            <pc:sldMk cId="1645206423" sldId="266"/>
            <ac:spMk id="2" creationId="{DBD15F49-53CB-B331-FFE8-224D23644D18}"/>
          </ac:spMkLst>
        </pc:spChg>
        <pc:spChg chg="del mod ord">
          <ac:chgData name="Danny P" userId="b214d6bb71249ca5" providerId="LiveId" clId="{0C340F2F-7155-40AB-A331-3FAF49351248}" dt="2023-11-22T09:05:04.966" v="1373" actId="12084"/>
          <ac:spMkLst>
            <pc:docMk/>
            <pc:sldMk cId="1645206423" sldId="266"/>
            <ac:spMk id="3" creationId="{6ADA35D9-5B91-FAB6-40FD-B5E6D0438552}"/>
          </ac:spMkLst>
        </pc:spChg>
        <pc:spChg chg="add del mod">
          <ac:chgData name="Danny P" userId="b214d6bb71249ca5" providerId="LiveId" clId="{0C340F2F-7155-40AB-A331-3FAF49351248}" dt="2023-11-15T09:54:19.372" v="39"/>
          <ac:spMkLst>
            <pc:docMk/>
            <pc:sldMk cId="1645206423" sldId="266"/>
            <ac:spMk id="6" creationId="{1D431865-0F81-F074-0BF1-B4E88D12ED86}"/>
          </ac:spMkLst>
        </pc:spChg>
        <pc:spChg chg="add del mod">
          <ac:chgData name="Danny P" userId="b214d6bb71249ca5" providerId="LiveId" clId="{0C340F2F-7155-40AB-A331-3FAF49351248}" dt="2023-11-15T09:54:19.372" v="39"/>
          <ac:spMkLst>
            <pc:docMk/>
            <pc:sldMk cId="1645206423" sldId="266"/>
            <ac:spMk id="7" creationId="{07893A39-E340-9565-D831-96FA6313062F}"/>
          </ac:spMkLst>
        </pc:spChg>
        <pc:spChg chg="add del mod">
          <ac:chgData name="Danny P" userId="b214d6bb71249ca5" providerId="LiveId" clId="{0C340F2F-7155-40AB-A331-3FAF49351248}" dt="2023-11-15T09:54:35.007" v="41"/>
          <ac:spMkLst>
            <pc:docMk/>
            <pc:sldMk cId="1645206423" sldId="266"/>
            <ac:spMk id="8" creationId="{AE09BBBF-EF0D-9E10-147D-7C26B3818039}"/>
          </ac:spMkLst>
        </pc:spChg>
        <pc:spChg chg="add del mod">
          <ac:chgData name="Danny P" userId="b214d6bb71249ca5" providerId="LiveId" clId="{0C340F2F-7155-40AB-A331-3FAF49351248}" dt="2023-11-15T09:54:35.007" v="41"/>
          <ac:spMkLst>
            <pc:docMk/>
            <pc:sldMk cId="1645206423" sldId="266"/>
            <ac:spMk id="9" creationId="{71F961DD-7B7C-83C3-9C2A-8158DAE8FACA}"/>
          </ac:spMkLst>
        </pc:spChg>
        <pc:spChg chg="add del mod">
          <ac:chgData name="Danny P" userId="b214d6bb71249ca5" providerId="LiveId" clId="{0C340F2F-7155-40AB-A331-3FAF49351248}" dt="2023-11-15T10:24:28.127" v="128"/>
          <ac:spMkLst>
            <pc:docMk/>
            <pc:sldMk cId="1645206423" sldId="266"/>
            <ac:spMk id="10" creationId="{F80A0313-96A6-9889-487D-60B11B52A24E}"/>
          </ac:spMkLst>
        </pc:spChg>
        <pc:spChg chg="add del mod">
          <ac:chgData name="Danny P" userId="b214d6bb71249ca5" providerId="LiveId" clId="{0C340F2F-7155-40AB-A331-3FAF49351248}" dt="2023-11-15T10:24:28.127" v="128"/>
          <ac:spMkLst>
            <pc:docMk/>
            <pc:sldMk cId="1645206423" sldId="266"/>
            <ac:spMk id="11" creationId="{4CDFDE02-E82C-F146-8E4F-2026CAC31B6C}"/>
          </ac:spMkLst>
        </pc:spChg>
        <pc:graphicFrameChg chg="add mod modGraphic">
          <ac:chgData name="Danny P" userId="b214d6bb71249ca5" providerId="LiveId" clId="{0C340F2F-7155-40AB-A331-3FAF49351248}" dt="2023-11-22T09:07:31.937" v="1389" actId="14100"/>
          <ac:graphicFrameMkLst>
            <pc:docMk/>
            <pc:sldMk cId="1645206423" sldId="266"/>
            <ac:graphicFrameMk id="4" creationId="{6E603E81-63EE-A209-E52E-8744BE5965C4}"/>
          </ac:graphicFrameMkLst>
        </pc:graphicFrameChg>
      </pc:sldChg>
      <pc:sldChg chg="addSp delSp modSp mod modTransition modClrScheme chgLayout">
        <pc:chgData name="Danny P" userId="b214d6bb71249ca5" providerId="LiveId" clId="{0C340F2F-7155-40AB-A331-3FAF49351248}" dt="2023-11-22T09:38:00.437" v="1441"/>
        <pc:sldMkLst>
          <pc:docMk/>
          <pc:sldMk cId="79809155" sldId="267"/>
        </pc:sldMkLst>
        <pc:spChg chg="mod ord">
          <ac:chgData name="Danny P" userId="b214d6bb71249ca5" providerId="LiveId" clId="{0C340F2F-7155-40AB-A331-3FAF49351248}" dt="2023-11-15T10:25:00.887" v="130" actId="700"/>
          <ac:spMkLst>
            <pc:docMk/>
            <pc:sldMk cId="79809155" sldId="267"/>
            <ac:spMk id="2" creationId="{43E13A46-253E-7232-5414-4DC97740E9D2}"/>
          </ac:spMkLst>
        </pc:spChg>
        <pc:spChg chg="add del mod ord">
          <ac:chgData name="Danny P" userId="b214d6bb71249ca5" providerId="LiveId" clId="{0C340F2F-7155-40AB-A331-3FAF49351248}" dt="2023-11-15T09:54:35.007" v="41"/>
          <ac:spMkLst>
            <pc:docMk/>
            <pc:sldMk cId="79809155" sldId="267"/>
            <ac:spMk id="3" creationId="{A5A6B87E-C7CF-9C7D-ADAA-CBA6CBD04B63}"/>
          </ac:spMkLst>
        </pc:spChg>
        <pc:spChg chg="add del mod">
          <ac:chgData name="Danny P" userId="b214d6bb71249ca5" providerId="LiveId" clId="{0C340F2F-7155-40AB-A331-3FAF49351248}" dt="2023-11-15T09:54:35.007" v="41"/>
          <ac:spMkLst>
            <pc:docMk/>
            <pc:sldMk cId="79809155" sldId="267"/>
            <ac:spMk id="4" creationId="{709FD7A1-0828-86CC-9D89-8246FC24ADDD}"/>
          </ac:spMkLst>
        </pc:spChg>
        <pc:spChg chg="add del mod ord">
          <ac:chgData name="Danny P" userId="b214d6bb71249ca5" providerId="LiveId" clId="{0C340F2F-7155-40AB-A331-3FAF49351248}" dt="2023-11-15T09:55:06.183" v="44" actId="700"/>
          <ac:spMkLst>
            <pc:docMk/>
            <pc:sldMk cId="79809155" sldId="267"/>
            <ac:spMk id="6" creationId="{FD9E8782-0D96-2F64-EE5F-2BE9538826EA}"/>
          </ac:spMkLst>
        </pc:spChg>
        <pc:spChg chg="add del mod ord">
          <ac:chgData name="Danny P" userId="b214d6bb71249ca5" providerId="LiveId" clId="{0C340F2F-7155-40AB-A331-3FAF49351248}" dt="2023-11-15T10:24:22.035" v="127" actId="700"/>
          <ac:spMkLst>
            <pc:docMk/>
            <pc:sldMk cId="79809155" sldId="267"/>
            <ac:spMk id="7" creationId="{98F44C13-D6C3-70C2-3E6B-56B3155C1147}"/>
          </ac:spMkLst>
        </pc:spChg>
        <pc:spChg chg="add del mod ord">
          <ac:chgData name="Danny P" userId="b214d6bb71249ca5" providerId="LiveId" clId="{0C340F2F-7155-40AB-A331-3FAF49351248}" dt="2023-11-15T10:24:28.127" v="128"/>
          <ac:spMkLst>
            <pc:docMk/>
            <pc:sldMk cId="79809155" sldId="267"/>
            <ac:spMk id="8" creationId="{85ADD5A2-61A8-71E6-1263-FF6D67B07058}"/>
          </ac:spMkLst>
        </pc:spChg>
        <pc:spChg chg="add del mod">
          <ac:chgData name="Danny P" userId="b214d6bb71249ca5" providerId="LiveId" clId="{0C340F2F-7155-40AB-A331-3FAF49351248}" dt="2023-11-15T10:24:28.127" v="128"/>
          <ac:spMkLst>
            <pc:docMk/>
            <pc:sldMk cId="79809155" sldId="267"/>
            <ac:spMk id="9" creationId="{AE87A769-F167-F830-7289-1B397EFDDF06}"/>
          </ac:spMkLst>
        </pc:spChg>
        <pc:spChg chg="add del mod ord">
          <ac:chgData name="Danny P" userId="b214d6bb71249ca5" providerId="LiveId" clId="{0C340F2F-7155-40AB-A331-3FAF49351248}" dt="2023-11-15T10:25:00.887" v="130" actId="700"/>
          <ac:spMkLst>
            <pc:docMk/>
            <pc:sldMk cId="79809155" sldId="267"/>
            <ac:spMk id="10" creationId="{BB785746-37F0-CBCE-D170-4757222B8297}"/>
          </ac:spMkLst>
        </pc:spChg>
        <pc:spChg chg="add mod ord">
          <ac:chgData name="Danny P" userId="b214d6bb71249ca5" providerId="LiveId" clId="{0C340F2F-7155-40AB-A331-3FAF49351248}" dt="2023-11-15T10:25:00.887" v="130" actId="700"/>
          <ac:spMkLst>
            <pc:docMk/>
            <pc:sldMk cId="79809155" sldId="267"/>
            <ac:spMk id="11" creationId="{64CFCD91-4745-8F2B-A2B0-57EB5699185C}"/>
          </ac:spMkLst>
        </pc:spChg>
      </pc:sldChg>
      <pc:sldChg chg="addSp delSp modSp mod modTransition modClrScheme modAnim chgLayout">
        <pc:chgData name="Danny P" userId="b214d6bb71249ca5" providerId="LiveId" clId="{0C340F2F-7155-40AB-A331-3FAF49351248}" dt="2023-11-22T10:00:53.125" v="1466"/>
        <pc:sldMkLst>
          <pc:docMk/>
          <pc:sldMk cId="3482549116" sldId="268"/>
        </pc:sldMkLst>
        <pc:spChg chg="add del mod ord">
          <ac:chgData name="Danny P" userId="b214d6bb71249ca5" providerId="LiveId" clId="{0C340F2F-7155-40AB-A331-3FAF49351248}" dt="2023-11-15T12:45:34.600" v="410" actId="21"/>
          <ac:spMkLst>
            <pc:docMk/>
            <pc:sldMk cId="3482549116" sldId="268"/>
            <ac:spMk id="3" creationId="{A20B76FD-F7AF-0B6D-FB14-16D41C98382A}"/>
          </ac:spMkLst>
        </pc:spChg>
        <pc:spChg chg="mod ord">
          <ac:chgData name="Danny P" userId="b214d6bb71249ca5" providerId="LiveId" clId="{0C340F2F-7155-40AB-A331-3FAF49351248}" dt="2023-11-15T12:48:22.331" v="424"/>
          <ac:spMkLst>
            <pc:docMk/>
            <pc:sldMk cId="3482549116" sldId="268"/>
            <ac:spMk id="4" creationId="{23240087-A7B7-6EFB-C41A-6BE2335586ED}"/>
          </ac:spMkLst>
        </pc:spChg>
        <pc:spChg chg="del mod ord">
          <ac:chgData name="Danny P" userId="b214d6bb71249ca5" providerId="LiveId" clId="{0C340F2F-7155-40AB-A331-3FAF49351248}" dt="2023-11-15T12:39:28.891" v="389" actId="1032"/>
          <ac:spMkLst>
            <pc:docMk/>
            <pc:sldMk cId="3482549116" sldId="268"/>
            <ac:spMk id="5" creationId="{46F5F09D-95A8-FC19-F5D2-1DA9167F0EED}"/>
          </ac:spMkLst>
        </pc:spChg>
        <pc:spChg chg="add del mod">
          <ac:chgData name="Danny P" userId="b214d6bb71249ca5" providerId="LiveId" clId="{0C340F2F-7155-40AB-A331-3FAF49351248}" dt="2023-11-15T12:48:22.331" v="424"/>
          <ac:spMkLst>
            <pc:docMk/>
            <pc:sldMk cId="3482549116" sldId="268"/>
            <ac:spMk id="6" creationId="{40E4A13C-43A1-1741-6DBA-AA79314A6F0D}"/>
          </ac:spMkLst>
        </pc:spChg>
        <pc:spChg chg="add del mod">
          <ac:chgData name="Danny P" userId="b214d6bb71249ca5" providerId="LiveId" clId="{0C340F2F-7155-40AB-A331-3FAF49351248}" dt="2023-11-15T09:54:19.372" v="39"/>
          <ac:spMkLst>
            <pc:docMk/>
            <pc:sldMk cId="3482549116" sldId="268"/>
            <ac:spMk id="6" creationId="{42FB4A0F-804F-3333-AB93-A9A2E7140D4B}"/>
          </ac:spMkLst>
        </pc:spChg>
        <pc:spChg chg="add del mod">
          <ac:chgData name="Danny P" userId="b214d6bb71249ca5" providerId="LiveId" clId="{0C340F2F-7155-40AB-A331-3FAF49351248}" dt="2023-11-15T12:48:22.331" v="424"/>
          <ac:spMkLst>
            <pc:docMk/>
            <pc:sldMk cId="3482549116" sldId="268"/>
            <ac:spMk id="7" creationId="{9D49B158-F553-7E67-9B30-EFD2C7F06C35}"/>
          </ac:spMkLst>
        </pc:spChg>
        <pc:spChg chg="add del mod">
          <ac:chgData name="Danny P" userId="b214d6bb71249ca5" providerId="LiveId" clId="{0C340F2F-7155-40AB-A331-3FAF49351248}" dt="2023-11-15T09:54:19.372" v="39"/>
          <ac:spMkLst>
            <pc:docMk/>
            <pc:sldMk cId="3482549116" sldId="268"/>
            <ac:spMk id="7" creationId="{FF9B673E-59B3-E3FE-98B3-F172A9FD9334}"/>
          </ac:spMkLst>
        </pc:spChg>
        <pc:spChg chg="add del mod">
          <ac:chgData name="Danny P" userId="b214d6bb71249ca5" providerId="LiveId" clId="{0C340F2F-7155-40AB-A331-3FAF49351248}" dt="2023-11-15T09:54:35.007" v="41"/>
          <ac:spMkLst>
            <pc:docMk/>
            <pc:sldMk cId="3482549116" sldId="268"/>
            <ac:spMk id="8" creationId="{6655C33F-555F-9351-6FC0-C7196AC27D91}"/>
          </ac:spMkLst>
        </pc:spChg>
        <pc:spChg chg="add del mod">
          <ac:chgData name="Danny P" userId="b214d6bb71249ca5" providerId="LiveId" clId="{0C340F2F-7155-40AB-A331-3FAF49351248}" dt="2023-11-15T09:54:35.007" v="41"/>
          <ac:spMkLst>
            <pc:docMk/>
            <pc:sldMk cId="3482549116" sldId="268"/>
            <ac:spMk id="9" creationId="{1C9B0972-AC90-B647-7EB5-55808F1F2D87}"/>
          </ac:spMkLst>
        </pc:spChg>
        <pc:spChg chg="add del mod">
          <ac:chgData name="Danny P" userId="b214d6bb71249ca5" providerId="LiveId" clId="{0C340F2F-7155-40AB-A331-3FAF49351248}" dt="2023-11-15T10:24:28.127" v="128"/>
          <ac:spMkLst>
            <pc:docMk/>
            <pc:sldMk cId="3482549116" sldId="268"/>
            <ac:spMk id="10" creationId="{F9FE7543-96A1-9D49-D3C5-A3FD75500247}"/>
          </ac:spMkLst>
        </pc:spChg>
        <pc:spChg chg="add del mod">
          <ac:chgData name="Danny P" userId="b214d6bb71249ca5" providerId="LiveId" clId="{0C340F2F-7155-40AB-A331-3FAF49351248}" dt="2023-11-15T10:24:28.127" v="128"/>
          <ac:spMkLst>
            <pc:docMk/>
            <pc:sldMk cId="3482549116" sldId="268"/>
            <ac:spMk id="11" creationId="{F3DF70EB-3406-B2D3-D9F6-CB0F829A8810}"/>
          </ac:spMkLst>
        </pc:spChg>
        <pc:graphicFrameChg chg="add mod modGraphic">
          <ac:chgData name="Danny P" userId="b214d6bb71249ca5" providerId="LiveId" clId="{0C340F2F-7155-40AB-A331-3FAF49351248}" dt="2023-11-15T12:49:46.006" v="441" actId="20577"/>
          <ac:graphicFrameMkLst>
            <pc:docMk/>
            <pc:sldMk cId="3482549116" sldId="268"/>
            <ac:graphicFrameMk id="2" creationId="{E5114EDD-1F3C-B6F7-9370-BD58ED6499E8}"/>
          </ac:graphicFrameMkLst>
        </pc:graphicFrameChg>
      </pc:sldChg>
      <pc:sldChg chg="addSp delSp modSp mod modTransition modClrScheme modAnim chgLayout">
        <pc:chgData name="Danny P" userId="b214d6bb71249ca5" providerId="LiveId" clId="{0C340F2F-7155-40AB-A331-3FAF49351248}" dt="2023-11-22T12:36:51.662" v="1602"/>
        <pc:sldMkLst>
          <pc:docMk/>
          <pc:sldMk cId="1307994658" sldId="269"/>
        </pc:sldMkLst>
        <pc:spChg chg="mod ord">
          <ac:chgData name="Danny P" userId="b214d6bb71249ca5" providerId="LiveId" clId="{0C340F2F-7155-40AB-A331-3FAF49351248}" dt="2023-11-15T10:24:28.127" v="128"/>
          <ac:spMkLst>
            <pc:docMk/>
            <pc:sldMk cId="1307994658" sldId="269"/>
            <ac:spMk id="2" creationId="{4D3C80A3-8488-AED3-348F-8812AC618DDA}"/>
          </ac:spMkLst>
        </pc:spChg>
        <pc:spChg chg="mod ord">
          <ac:chgData name="Danny P" userId="b214d6bb71249ca5" providerId="LiveId" clId="{0C340F2F-7155-40AB-A331-3FAF49351248}" dt="2023-11-15T10:24:28.127" v="128"/>
          <ac:spMkLst>
            <pc:docMk/>
            <pc:sldMk cId="1307994658" sldId="269"/>
            <ac:spMk id="3" creationId="{994FCEC5-2341-C6AB-F019-DE3795E0BF9A}"/>
          </ac:spMkLst>
        </pc:spChg>
        <pc:spChg chg="add del mod">
          <ac:chgData name="Danny P" userId="b214d6bb71249ca5" providerId="LiveId" clId="{0C340F2F-7155-40AB-A331-3FAF49351248}" dt="2023-11-15T09:54:19.372" v="39"/>
          <ac:spMkLst>
            <pc:docMk/>
            <pc:sldMk cId="1307994658" sldId="269"/>
            <ac:spMk id="6" creationId="{8DD440C4-E8CF-3923-999C-3F298B85A047}"/>
          </ac:spMkLst>
        </pc:spChg>
        <pc:spChg chg="add del mod">
          <ac:chgData name="Danny P" userId="b214d6bb71249ca5" providerId="LiveId" clId="{0C340F2F-7155-40AB-A331-3FAF49351248}" dt="2023-11-15T09:54:19.372" v="39"/>
          <ac:spMkLst>
            <pc:docMk/>
            <pc:sldMk cId="1307994658" sldId="269"/>
            <ac:spMk id="7" creationId="{44EE8CC8-04FE-06C7-65F2-51FE6E5DC29F}"/>
          </ac:spMkLst>
        </pc:spChg>
        <pc:spChg chg="add del mod">
          <ac:chgData name="Danny P" userId="b214d6bb71249ca5" providerId="LiveId" clId="{0C340F2F-7155-40AB-A331-3FAF49351248}" dt="2023-11-15T09:54:35.007" v="41"/>
          <ac:spMkLst>
            <pc:docMk/>
            <pc:sldMk cId="1307994658" sldId="269"/>
            <ac:spMk id="8" creationId="{6F8711CB-CB2E-743A-F91A-6A59DDA34B3E}"/>
          </ac:spMkLst>
        </pc:spChg>
        <pc:spChg chg="add del mod">
          <ac:chgData name="Danny P" userId="b214d6bb71249ca5" providerId="LiveId" clId="{0C340F2F-7155-40AB-A331-3FAF49351248}" dt="2023-11-15T09:54:35.007" v="41"/>
          <ac:spMkLst>
            <pc:docMk/>
            <pc:sldMk cId="1307994658" sldId="269"/>
            <ac:spMk id="9" creationId="{1DC2688A-3F2A-8551-B1D8-76C4AE6707DF}"/>
          </ac:spMkLst>
        </pc:spChg>
        <pc:spChg chg="add del mod">
          <ac:chgData name="Danny P" userId="b214d6bb71249ca5" providerId="LiveId" clId="{0C340F2F-7155-40AB-A331-3FAF49351248}" dt="2023-11-15T10:24:28.127" v="128"/>
          <ac:spMkLst>
            <pc:docMk/>
            <pc:sldMk cId="1307994658" sldId="269"/>
            <ac:spMk id="10" creationId="{F444D33F-3E65-E7E9-C962-C7EB508E9CDC}"/>
          </ac:spMkLst>
        </pc:spChg>
        <pc:spChg chg="add del mod">
          <ac:chgData name="Danny P" userId="b214d6bb71249ca5" providerId="LiveId" clId="{0C340F2F-7155-40AB-A331-3FAF49351248}" dt="2023-11-15T10:24:28.127" v="128"/>
          <ac:spMkLst>
            <pc:docMk/>
            <pc:sldMk cId="1307994658" sldId="269"/>
            <ac:spMk id="11" creationId="{E1E66D9B-0877-C3F2-7D17-C2AF74F4B637}"/>
          </ac:spMkLst>
        </pc:spChg>
      </pc:sldChg>
      <pc:sldChg chg="addSp delSp modSp mod modTransition modClrScheme chgLayout modNotesTx">
        <pc:chgData name="Danny P" userId="b214d6bb71249ca5" providerId="LiveId" clId="{0C340F2F-7155-40AB-A331-3FAF49351248}" dt="2023-11-22T09:38:00.437" v="1441"/>
        <pc:sldMkLst>
          <pc:docMk/>
          <pc:sldMk cId="3362981302" sldId="270"/>
        </pc:sldMkLst>
        <pc:spChg chg="mod ord">
          <ac:chgData name="Danny P" userId="b214d6bb71249ca5" providerId="LiveId" clId="{0C340F2F-7155-40AB-A331-3FAF49351248}" dt="2023-11-15T12:28:34.117" v="374" actId="20577"/>
          <ac:spMkLst>
            <pc:docMk/>
            <pc:sldMk cId="3362981302" sldId="270"/>
            <ac:spMk id="2" creationId="{3FF4E767-431F-1333-6D03-0A51664C8847}"/>
          </ac:spMkLst>
        </pc:spChg>
        <pc:spChg chg="del mod ord">
          <ac:chgData name="Danny P" userId="b214d6bb71249ca5" providerId="LiveId" clId="{0C340F2F-7155-40AB-A331-3FAF49351248}" dt="2023-11-15T11:23:07.747" v="229" actId="700"/>
          <ac:spMkLst>
            <pc:docMk/>
            <pc:sldMk cId="3362981302" sldId="270"/>
            <ac:spMk id="3" creationId="{96799EDF-EAFB-A4ED-741F-0575EC500AC6}"/>
          </ac:spMkLst>
        </pc:spChg>
        <pc:spChg chg="add del mod">
          <ac:chgData name="Danny P" userId="b214d6bb71249ca5" providerId="LiveId" clId="{0C340F2F-7155-40AB-A331-3FAF49351248}" dt="2023-11-15T12:25:20.173" v="316" actId="478"/>
          <ac:spMkLst>
            <pc:docMk/>
            <pc:sldMk cId="3362981302" sldId="270"/>
            <ac:spMk id="3" creationId="{B40F89CC-140A-69F7-5F81-403AE20947CC}"/>
          </ac:spMkLst>
        </pc:spChg>
        <pc:spChg chg="add del mod ord">
          <ac:chgData name="Danny P" userId="b214d6bb71249ca5" providerId="LiveId" clId="{0C340F2F-7155-40AB-A331-3FAF49351248}" dt="2023-11-15T11:23:36.853" v="230" actId="478"/>
          <ac:spMkLst>
            <pc:docMk/>
            <pc:sldMk cId="3362981302" sldId="270"/>
            <ac:spMk id="4" creationId="{D0FA8862-39C3-DB28-88E3-624C86D1F05F}"/>
          </ac:spMkLst>
        </pc:spChg>
        <pc:spChg chg="add mod">
          <ac:chgData name="Danny P" userId="b214d6bb71249ca5" providerId="LiveId" clId="{0C340F2F-7155-40AB-A331-3FAF49351248}" dt="2023-11-15T12:23:56.377" v="311"/>
          <ac:spMkLst>
            <pc:docMk/>
            <pc:sldMk cId="3362981302" sldId="270"/>
            <ac:spMk id="4" creationId="{EAB88FD0-5CD7-69C1-7F56-4DC796185D39}"/>
          </ac:spMkLst>
        </pc:spChg>
        <pc:spChg chg="add del">
          <ac:chgData name="Danny P" userId="b214d6bb71249ca5" providerId="LiveId" clId="{0C340F2F-7155-40AB-A331-3FAF49351248}" dt="2023-11-15T12:22:07.965" v="304" actId="478"/>
          <ac:spMkLst>
            <pc:docMk/>
            <pc:sldMk cId="3362981302" sldId="270"/>
            <ac:spMk id="5" creationId="{1E8BCEE7-6F00-D429-5777-337B3C067C7F}"/>
          </ac:spMkLst>
        </pc:spChg>
        <pc:spChg chg="add del mod">
          <ac:chgData name="Danny P" userId="b214d6bb71249ca5" providerId="LiveId" clId="{0C340F2F-7155-40AB-A331-3FAF49351248}" dt="2023-11-15T11:23:44.341" v="231"/>
          <ac:spMkLst>
            <pc:docMk/>
            <pc:sldMk cId="3362981302" sldId="270"/>
            <ac:spMk id="5" creationId="{CD47CAD3-ADFD-EE88-B171-9CF81FA26CA7}"/>
          </ac:spMkLst>
        </pc:spChg>
        <pc:spChg chg="add del mod">
          <ac:chgData name="Danny P" userId="b214d6bb71249ca5" providerId="LiveId" clId="{0C340F2F-7155-40AB-A331-3FAF49351248}" dt="2023-11-15T11:23:50.469" v="232" actId="478"/>
          <ac:spMkLst>
            <pc:docMk/>
            <pc:sldMk cId="3362981302" sldId="270"/>
            <ac:spMk id="6" creationId="{251CD8DB-036C-D9F6-8804-F298315813BB}"/>
          </ac:spMkLst>
        </pc:spChg>
        <pc:spChg chg="add del mod">
          <ac:chgData name="Danny P" userId="b214d6bb71249ca5" providerId="LiveId" clId="{0C340F2F-7155-40AB-A331-3FAF49351248}" dt="2023-11-15T09:54:19.372" v="39"/>
          <ac:spMkLst>
            <pc:docMk/>
            <pc:sldMk cId="3362981302" sldId="270"/>
            <ac:spMk id="6" creationId="{2FA9EA52-48E7-D120-8738-F761680BB3B8}"/>
          </ac:spMkLst>
        </pc:spChg>
        <pc:spChg chg="add del mod">
          <ac:chgData name="Danny P" userId="b214d6bb71249ca5" providerId="LiveId" clId="{0C340F2F-7155-40AB-A331-3FAF49351248}" dt="2023-11-15T12:22:34.013" v="306" actId="478"/>
          <ac:spMkLst>
            <pc:docMk/>
            <pc:sldMk cId="3362981302" sldId="270"/>
            <ac:spMk id="6" creationId="{A6449049-7CD8-1D47-8107-4BBBAB862628}"/>
          </ac:spMkLst>
        </pc:spChg>
        <pc:spChg chg="add mod">
          <ac:chgData name="Danny P" userId="b214d6bb71249ca5" providerId="LiveId" clId="{0C340F2F-7155-40AB-A331-3FAF49351248}" dt="2023-11-15T12:22:56.306" v="310" actId="14100"/>
          <ac:spMkLst>
            <pc:docMk/>
            <pc:sldMk cId="3362981302" sldId="270"/>
            <ac:spMk id="7" creationId="{BB8A90B3-7BA7-D2C9-2FCA-A553F88E6BF3}"/>
          </ac:spMkLst>
        </pc:spChg>
        <pc:spChg chg="add del mod">
          <ac:chgData name="Danny P" userId="b214d6bb71249ca5" providerId="LiveId" clId="{0C340F2F-7155-40AB-A331-3FAF49351248}" dt="2023-11-15T09:54:19.372" v="39"/>
          <ac:spMkLst>
            <pc:docMk/>
            <pc:sldMk cId="3362981302" sldId="270"/>
            <ac:spMk id="7" creationId="{E90FE20A-6488-F654-468D-D4D4FAAFD609}"/>
          </ac:spMkLst>
        </pc:spChg>
        <pc:spChg chg="add del mod">
          <ac:chgData name="Danny P" userId="b214d6bb71249ca5" providerId="LiveId" clId="{0C340F2F-7155-40AB-A331-3FAF49351248}" dt="2023-11-15T09:54:35.007" v="41"/>
          <ac:spMkLst>
            <pc:docMk/>
            <pc:sldMk cId="3362981302" sldId="270"/>
            <ac:spMk id="8" creationId="{1AB863B4-3BAB-5789-807D-DB421DFD5F57}"/>
          </ac:spMkLst>
        </pc:spChg>
        <pc:spChg chg="add del">
          <ac:chgData name="Danny P" userId="b214d6bb71249ca5" providerId="LiveId" clId="{0C340F2F-7155-40AB-A331-3FAF49351248}" dt="2023-11-15T12:24:20.873" v="313" actId="478"/>
          <ac:spMkLst>
            <pc:docMk/>
            <pc:sldMk cId="3362981302" sldId="270"/>
            <ac:spMk id="9" creationId="{7ED367B6-2A05-17F7-C8AA-7AAC7DF584D3}"/>
          </ac:spMkLst>
        </pc:spChg>
        <pc:spChg chg="add del mod">
          <ac:chgData name="Danny P" userId="b214d6bb71249ca5" providerId="LiveId" clId="{0C340F2F-7155-40AB-A331-3FAF49351248}" dt="2023-11-15T09:54:35.007" v="41"/>
          <ac:spMkLst>
            <pc:docMk/>
            <pc:sldMk cId="3362981302" sldId="270"/>
            <ac:spMk id="9" creationId="{E7C0AF86-D07F-5B93-D09A-7712ACFA631E}"/>
          </ac:spMkLst>
        </pc:spChg>
        <pc:spChg chg="add del mod">
          <ac:chgData name="Danny P" userId="b214d6bb71249ca5" providerId="LiveId" clId="{0C340F2F-7155-40AB-A331-3FAF49351248}" dt="2023-11-15T10:24:28.127" v="128"/>
          <ac:spMkLst>
            <pc:docMk/>
            <pc:sldMk cId="3362981302" sldId="270"/>
            <ac:spMk id="10" creationId="{4FBCB265-8819-BC12-6539-63235A9B7135}"/>
          </ac:spMkLst>
        </pc:spChg>
        <pc:spChg chg="add mod">
          <ac:chgData name="Danny P" userId="b214d6bb71249ca5" providerId="LiveId" clId="{0C340F2F-7155-40AB-A331-3FAF49351248}" dt="2023-11-15T12:27:31.384" v="372" actId="14100"/>
          <ac:spMkLst>
            <pc:docMk/>
            <pc:sldMk cId="3362981302" sldId="270"/>
            <ac:spMk id="11" creationId="{DFCE0282-97DF-98D3-BF7E-0A4118369EB2}"/>
          </ac:spMkLst>
        </pc:spChg>
        <pc:spChg chg="add del mod">
          <ac:chgData name="Danny P" userId="b214d6bb71249ca5" providerId="LiveId" clId="{0C340F2F-7155-40AB-A331-3FAF49351248}" dt="2023-11-15T10:24:28.127" v="128"/>
          <ac:spMkLst>
            <pc:docMk/>
            <pc:sldMk cId="3362981302" sldId="270"/>
            <ac:spMk id="11" creationId="{E3DBAEAB-8647-9BA3-E9A7-681861C923E0}"/>
          </ac:spMkLst>
        </pc:spChg>
        <pc:spChg chg="add">
          <ac:chgData name="Danny P" userId="b214d6bb71249ca5" providerId="LiveId" clId="{0C340F2F-7155-40AB-A331-3FAF49351248}" dt="2023-11-15T12:29:44.786" v="375" actId="11529"/>
          <ac:spMkLst>
            <pc:docMk/>
            <pc:sldMk cId="3362981302" sldId="270"/>
            <ac:spMk id="12" creationId="{0FE0EA8C-3AA7-26A6-8EE9-A5B7CA309468}"/>
          </ac:spMkLst>
        </pc:spChg>
        <pc:spChg chg="add mod">
          <ac:chgData name="Danny P" userId="b214d6bb71249ca5" providerId="LiveId" clId="{0C340F2F-7155-40AB-A331-3FAF49351248}" dt="2023-11-15T12:30:04.724" v="378" actId="1076"/>
          <ac:spMkLst>
            <pc:docMk/>
            <pc:sldMk cId="3362981302" sldId="270"/>
            <ac:spMk id="13" creationId="{41470310-D2EE-87D0-D480-5EA338255827}"/>
          </ac:spMkLst>
        </pc:spChg>
        <pc:spChg chg="add mod">
          <ac:chgData name="Danny P" userId="b214d6bb71249ca5" providerId="LiveId" clId="{0C340F2F-7155-40AB-A331-3FAF49351248}" dt="2023-11-15T12:31:44.656" v="380" actId="571"/>
          <ac:spMkLst>
            <pc:docMk/>
            <pc:sldMk cId="3362981302" sldId="270"/>
            <ac:spMk id="14" creationId="{FA57EF2A-22FD-8C50-D4AC-CEDEF8FA3D8F}"/>
          </ac:spMkLst>
        </pc:spChg>
        <pc:spChg chg="add mod">
          <ac:chgData name="Danny P" userId="b214d6bb71249ca5" providerId="LiveId" clId="{0C340F2F-7155-40AB-A331-3FAF49351248}" dt="2023-11-15T12:31:44.656" v="380" actId="571"/>
          <ac:spMkLst>
            <pc:docMk/>
            <pc:sldMk cId="3362981302" sldId="270"/>
            <ac:spMk id="15" creationId="{EA68AD69-C3CC-C252-4CDA-90840D57D023}"/>
          </ac:spMkLst>
        </pc:spChg>
        <pc:spChg chg="add mod">
          <ac:chgData name="Danny P" userId="b214d6bb71249ca5" providerId="LiveId" clId="{0C340F2F-7155-40AB-A331-3FAF49351248}" dt="2023-11-15T12:31:51.862" v="381" actId="571"/>
          <ac:spMkLst>
            <pc:docMk/>
            <pc:sldMk cId="3362981302" sldId="270"/>
            <ac:spMk id="16" creationId="{D7C0482D-74BD-ED63-4A05-8609C1C77604}"/>
          </ac:spMkLst>
        </pc:spChg>
        <pc:grpChg chg="add mod">
          <ac:chgData name="Danny P" userId="b214d6bb71249ca5" providerId="LiveId" clId="{0C340F2F-7155-40AB-A331-3FAF49351248}" dt="2023-11-15T12:33:05.915" v="384" actId="1076"/>
          <ac:grpSpMkLst>
            <pc:docMk/>
            <pc:sldMk cId="3362981302" sldId="270"/>
            <ac:grpSpMk id="17" creationId="{0E45F065-DB34-885F-4706-B4DC8F85E84E}"/>
          </ac:grpSpMkLst>
        </pc:grpChg>
        <pc:grpChg chg="add mod">
          <ac:chgData name="Danny P" userId="b214d6bb71249ca5" providerId="LiveId" clId="{0C340F2F-7155-40AB-A331-3FAF49351248}" dt="2023-11-15T12:33:46.368" v="387" actId="14100"/>
          <ac:grpSpMkLst>
            <pc:docMk/>
            <pc:sldMk cId="3362981302" sldId="270"/>
            <ac:grpSpMk id="18" creationId="{4D754E90-0CEB-D7BE-5526-3EA03B9B076A}"/>
          </ac:grpSpMkLst>
        </pc:grpChg>
        <pc:picChg chg="add mod modCrop">
          <ac:chgData name="Danny P" userId="b214d6bb71249ca5" providerId="LiveId" clId="{0C340F2F-7155-40AB-A331-3FAF49351248}" dt="2023-11-15T12:29:51.830" v="376" actId="1076"/>
          <ac:picMkLst>
            <pc:docMk/>
            <pc:sldMk cId="3362981302" sldId="270"/>
            <ac:picMk id="8" creationId="{73C7E765-6916-28F4-1884-9A8D26FFE91D}"/>
          </ac:picMkLst>
        </pc:picChg>
        <pc:picChg chg="add mod modCrop">
          <ac:chgData name="Danny P" userId="b214d6bb71249ca5" providerId="LiveId" clId="{0C340F2F-7155-40AB-A331-3FAF49351248}" dt="2023-11-15T11:33:09.435" v="257" actId="14100"/>
          <ac:picMkLst>
            <pc:docMk/>
            <pc:sldMk cId="3362981302" sldId="270"/>
            <ac:picMk id="10" creationId="{88089F12-5A81-46E4-78C4-12935ED0CD33}"/>
          </ac:picMkLst>
        </pc:picChg>
      </pc:sldChg>
      <pc:sldChg chg="addSp delSp modSp mod modTransition modClrScheme chgLayout">
        <pc:chgData name="Danny P" userId="b214d6bb71249ca5" providerId="LiveId" clId="{0C340F2F-7155-40AB-A331-3FAF49351248}" dt="2023-11-22T12:53:51.676" v="1786" actId="14100"/>
        <pc:sldMkLst>
          <pc:docMk/>
          <pc:sldMk cId="1680577530" sldId="271"/>
        </pc:sldMkLst>
        <pc:spChg chg="mod ord">
          <ac:chgData name="Danny P" userId="b214d6bb71249ca5" providerId="LiveId" clId="{0C340F2F-7155-40AB-A331-3FAF49351248}" dt="2023-11-15T10:24:28.127" v="128"/>
          <ac:spMkLst>
            <pc:docMk/>
            <pc:sldMk cId="1680577530" sldId="271"/>
            <ac:spMk id="2" creationId="{5EDE8408-14CB-948F-8031-78E3B6B6E0E6}"/>
          </ac:spMkLst>
        </pc:spChg>
        <pc:spChg chg="mod ord">
          <ac:chgData name="Danny P" userId="b214d6bb71249ca5" providerId="LiveId" clId="{0C340F2F-7155-40AB-A331-3FAF49351248}" dt="2023-11-22T12:13:37.511" v="1538" actId="6549"/>
          <ac:spMkLst>
            <pc:docMk/>
            <pc:sldMk cId="1680577530" sldId="271"/>
            <ac:spMk id="3" creationId="{DD103916-F15C-9501-63D1-038A37477ACD}"/>
          </ac:spMkLst>
        </pc:spChg>
        <pc:spChg chg="mod ord">
          <ac:chgData name="Danny P" userId="b214d6bb71249ca5" providerId="LiveId" clId="{0C340F2F-7155-40AB-A331-3FAF49351248}" dt="2023-11-22T12:53:51.676" v="1786" actId="14100"/>
          <ac:spMkLst>
            <pc:docMk/>
            <pc:sldMk cId="1680577530" sldId="271"/>
            <ac:spMk id="4" creationId="{3C1B35FC-27E1-DAE4-A491-B7BB58D791C7}"/>
          </ac:spMkLst>
        </pc:spChg>
        <pc:spChg chg="add del mod">
          <ac:chgData name="Danny P" userId="b214d6bb71249ca5" providerId="LiveId" clId="{0C340F2F-7155-40AB-A331-3FAF49351248}" dt="2023-11-15T09:54:19.372" v="39"/>
          <ac:spMkLst>
            <pc:docMk/>
            <pc:sldMk cId="1680577530" sldId="271"/>
            <ac:spMk id="7" creationId="{FB7939D0-83EF-E78C-A50C-654A6A112A6C}"/>
          </ac:spMkLst>
        </pc:spChg>
        <pc:spChg chg="add del mod">
          <ac:chgData name="Danny P" userId="b214d6bb71249ca5" providerId="LiveId" clId="{0C340F2F-7155-40AB-A331-3FAF49351248}" dt="2023-11-15T09:54:19.372" v="39"/>
          <ac:spMkLst>
            <pc:docMk/>
            <pc:sldMk cId="1680577530" sldId="271"/>
            <ac:spMk id="8" creationId="{E8A41CCC-5043-8D02-654B-3A22E258398B}"/>
          </ac:spMkLst>
        </pc:spChg>
        <pc:spChg chg="add del mod">
          <ac:chgData name="Danny P" userId="b214d6bb71249ca5" providerId="LiveId" clId="{0C340F2F-7155-40AB-A331-3FAF49351248}" dt="2023-11-15T09:54:35.007" v="41"/>
          <ac:spMkLst>
            <pc:docMk/>
            <pc:sldMk cId="1680577530" sldId="271"/>
            <ac:spMk id="9" creationId="{EE631096-9F58-D4F2-22BC-5EABD7066C82}"/>
          </ac:spMkLst>
        </pc:spChg>
        <pc:spChg chg="add del mod">
          <ac:chgData name="Danny P" userId="b214d6bb71249ca5" providerId="LiveId" clId="{0C340F2F-7155-40AB-A331-3FAF49351248}" dt="2023-11-15T09:54:35.007" v="41"/>
          <ac:spMkLst>
            <pc:docMk/>
            <pc:sldMk cId="1680577530" sldId="271"/>
            <ac:spMk id="10" creationId="{CC670A27-232A-7893-5362-50C51AA1F43D}"/>
          </ac:spMkLst>
        </pc:spChg>
        <pc:spChg chg="add del mod">
          <ac:chgData name="Danny P" userId="b214d6bb71249ca5" providerId="LiveId" clId="{0C340F2F-7155-40AB-A331-3FAF49351248}" dt="2023-11-15T10:24:28.127" v="128"/>
          <ac:spMkLst>
            <pc:docMk/>
            <pc:sldMk cId="1680577530" sldId="271"/>
            <ac:spMk id="11" creationId="{3B5C714E-2A18-3436-52B0-44E2AF65BD7A}"/>
          </ac:spMkLst>
        </pc:spChg>
        <pc:spChg chg="add del mod">
          <ac:chgData name="Danny P" userId="b214d6bb71249ca5" providerId="LiveId" clId="{0C340F2F-7155-40AB-A331-3FAF49351248}" dt="2023-11-15T10:24:28.127" v="128"/>
          <ac:spMkLst>
            <pc:docMk/>
            <pc:sldMk cId="1680577530" sldId="271"/>
            <ac:spMk id="12" creationId="{33A34F07-C86A-FA91-EE70-AD68DAC43D21}"/>
          </ac:spMkLst>
        </pc:spChg>
      </pc:sldChg>
      <pc:sldChg chg="addSp delSp modSp mod ord modTransition modClrScheme modAnim chgLayout">
        <pc:chgData name="Danny P" userId="b214d6bb71249ca5" providerId="LiveId" clId="{0C340F2F-7155-40AB-A331-3FAF49351248}" dt="2023-11-22T10:33:01.591" v="1487"/>
        <pc:sldMkLst>
          <pc:docMk/>
          <pc:sldMk cId="1917191873" sldId="273"/>
        </pc:sldMkLst>
        <pc:spChg chg="mod ord">
          <ac:chgData name="Danny P" userId="b214d6bb71249ca5" providerId="LiveId" clId="{0C340F2F-7155-40AB-A331-3FAF49351248}" dt="2023-11-22T08:33:01.089" v="1235"/>
          <ac:spMkLst>
            <pc:docMk/>
            <pc:sldMk cId="1917191873" sldId="273"/>
            <ac:spMk id="2" creationId="{00000000-0000-0000-0000-000000000000}"/>
          </ac:spMkLst>
        </pc:spChg>
        <pc:spChg chg="del mod">
          <ac:chgData name="Danny P" userId="b214d6bb71249ca5" providerId="LiveId" clId="{0C340F2F-7155-40AB-A331-3FAF49351248}" dt="2023-11-15T09:54:19.372" v="39"/>
          <ac:spMkLst>
            <pc:docMk/>
            <pc:sldMk cId="1917191873" sldId="273"/>
            <ac:spMk id="5" creationId="{BAFCE6BB-7508-28A3-FEE8-B0C83DF45D9A}"/>
          </ac:spMkLst>
        </pc:spChg>
        <pc:spChg chg="add del mod">
          <ac:chgData name="Danny P" userId="b214d6bb71249ca5" providerId="LiveId" clId="{0C340F2F-7155-40AB-A331-3FAF49351248}" dt="2023-11-15T09:54:19.372" v="39"/>
          <ac:spMkLst>
            <pc:docMk/>
            <pc:sldMk cId="1917191873" sldId="273"/>
            <ac:spMk id="7" creationId="{10E99104-9F95-C7D7-687C-E6CD73E1BC0C}"/>
          </ac:spMkLst>
        </pc:spChg>
        <pc:spChg chg="add del mod ord">
          <ac:chgData name="Danny P" userId="b214d6bb71249ca5" providerId="LiveId" clId="{0C340F2F-7155-40AB-A331-3FAF49351248}" dt="2023-11-15T09:54:32.295" v="40" actId="700"/>
          <ac:spMkLst>
            <pc:docMk/>
            <pc:sldMk cId="1917191873" sldId="273"/>
            <ac:spMk id="8" creationId="{D85C6C4E-D880-8279-0000-6F69C9FB5146}"/>
          </ac:spMkLst>
        </pc:spChg>
        <pc:spChg chg="add del mod">
          <ac:chgData name="Danny P" userId="b214d6bb71249ca5" providerId="LiveId" clId="{0C340F2F-7155-40AB-A331-3FAF49351248}" dt="2023-11-22T08:33:01.089" v="1235"/>
          <ac:spMkLst>
            <pc:docMk/>
            <pc:sldMk cId="1917191873" sldId="273"/>
            <ac:spMk id="9" creationId="{AF7D4077-43AC-8272-88C8-43E697791667}"/>
          </ac:spMkLst>
        </pc:spChg>
        <pc:spChg chg="add del mod ord">
          <ac:chgData name="Danny P" userId="b214d6bb71249ca5" providerId="LiveId" clId="{0C340F2F-7155-40AB-A331-3FAF49351248}" dt="2023-11-15T09:54:35.007" v="41"/>
          <ac:spMkLst>
            <pc:docMk/>
            <pc:sldMk cId="1917191873" sldId="273"/>
            <ac:spMk id="9" creationId="{F127C346-1186-54C7-BB4F-9293801DE83B}"/>
          </ac:spMkLst>
        </pc:spChg>
        <pc:spChg chg="add del mod">
          <ac:chgData name="Danny P" userId="b214d6bb71249ca5" providerId="LiveId" clId="{0C340F2F-7155-40AB-A331-3FAF49351248}" dt="2023-11-15T09:54:35.007" v="41"/>
          <ac:spMkLst>
            <pc:docMk/>
            <pc:sldMk cId="1917191873" sldId="273"/>
            <ac:spMk id="10" creationId="{B7FFF1B5-F563-0560-B70A-8EBA6BB477C0}"/>
          </ac:spMkLst>
        </pc:spChg>
        <pc:spChg chg="add del mod">
          <ac:chgData name="Danny P" userId="b214d6bb71249ca5" providerId="LiveId" clId="{0C340F2F-7155-40AB-A331-3FAF49351248}" dt="2023-11-22T08:33:04.968" v="1236" actId="478"/>
          <ac:spMkLst>
            <pc:docMk/>
            <pc:sldMk cId="1917191873" sldId="273"/>
            <ac:spMk id="10" creationId="{D193C904-0A66-7D13-6CFC-22B61FC72F7A}"/>
          </ac:spMkLst>
        </pc:spChg>
        <pc:spChg chg="add del mod">
          <ac:chgData name="Danny P" userId="b214d6bb71249ca5" providerId="LiveId" clId="{0C340F2F-7155-40AB-A331-3FAF49351248}" dt="2023-11-15T10:24:22.035" v="127" actId="700"/>
          <ac:spMkLst>
            <pc:docMk/>
            <pc:sldMk cId="1917191873" sldId="273"/>
            <ac:spMk id="11" creationId="{53F82F9D-1152-2408-EEB4-F9F81EA80372}"/>
          </ac:spMkLst>
        </pc:spChg>
        <pc:spChg chg="add del mod ord">
          <ac:chgData name="Danny P" userId="b214d6bb71249ca5" providerId="LiveId" clId="{0C340F2F-7155-40AB-A331-3FAF49351248}" dt="2023-11-15T10:24:28.127" v="128"/>
          <ac:spMkLst>
            <pc:docMk/>
            <pc:sldMk cId="1917191873" sldId="273"/>
            <ac:spMk id="12" creationId="{5C30A13F-C3C9-DA59-F2BE-09EAF3DF7652}"/>
          </ac:spMkLst>
        </pc:spChg>
        <pc:spChg chg="add del mod">
          <ac:chgData name="Danny P" userId="b214d6bb71249ca5" providerId="LiveId" clId="{0C340F2F-7155-40AB-A331-3FAF49351248}" dt="2023-11-15T10:24:28.127" v="128"/>
          <ac:spMkLst>
            <pc:docMk/>
            <pc:sldMk cId="1917191873" sldId="273"/>
            <ac:spMk id="13" creationId="{3D9675BD-C311-78C0-7FA9-4AA611A2FC52}"/>
          </ac:spMkLst>
        </pc:spChg>
        <pc:spChg chg="add del mod">
          <ac:chgData name="Danny P" userId="b214d6bb71249ca5" providerId="LiveId" clId="{0C340F2F-7155-40AB-A331-3FAF49351248}" dt="2023-11-22T08:10:21.836" v="1218" actId="478"/>
          <ac:spMkLst>
            <pc:docMk/>
            <pc:sldMk cId="1917191873" sldId="273"/>
            <ac:spMk id="14" creationId="{7D71884C-4554-0739-B10A-0150A63D3158}"/>
          </ac:spMkLst>
        </pc:spChg>
        <pc:graphicFrameChg chg="add del mod">
          <ac:chgData name="Danny P" userId="b214d6bb71249ca5" providerId="LiveId" clId="{0C340F2F-7155-40AB-A331-3FAF49351248}" dt="2023-11-22T08:28:02.001" v="1222" actId="478"/>
          <ac:graphicFrameMkLst>
            <pc:docMk/>
            <pc:sldMk cId="1917191873" sldId="273"/>
            <ac:graphicFrameMk id="5" creationId="{25C6C8D9-A5B2-D10A-3DE5-7902C3A75CC7}"/>
          </ac:graphicFrameMkLst>
        </pc:graphicFrameChg>
        <pc:graphicFrameChg chg="del">
          <ac:chgData name="Danny P" userId="b214d6bb71249ca5" providerId="LiveId" clId="{0C340F2F-7155-40AB-A331-3FAF49351248}" dt="2023-11-22T08:10:26.239" v="1219" actId="478"/>
          <ac:graphicFrameMkLst>
            <pc:docMk/>
            <pc:sldMk cId="1917191873" sldId="273"/>
            <ac:graphicFrameMk id="6" creationId="{00000000-0008-0000-0000-000003000000}"/>
          </ac:graphicFrameMkLst>
        </pc:graphicFrameChg>
        <pc:graphicFrameChg chg="add mod">
          <ac:chgData name="Danny P" userId="b214d6bb71249ca5" providerId="LiveId" clId="{0C340F2F-7155-40AB-A331-3FAF49351248}" dt="2023-11-22T08:41:47.496" v="1281" actId="113"/>
          <ac:graphicFrameMkLst>
            <pc:docMk/>
            <pc:sldMk cId="1917191873" sldId="273"/>
            <ac:graphicFrameMk id="8" creationId="{00000000-0008-0000-0000-000002000000}"/>
          </ac:graphicFrameMkLst>
        </pc:graphicFrameChg>
        <pc:picChg chg="add del mod">
          <ac:chgData name="Danny P" userId="b214d6bb71249ca5" providerId="LiveId" clId="{0C340F2F-7155-40AB-A331-3FAF49351248}" dt="2023-11-22T08:30:20.236" v="1230" actId="478"/>
          <ac:picMkLst>
            <pc:docMk/>
            <pc:sldMk cId="1917191873" sldId="273"/>
            <ac:picMk id="7" creationId="{5BB6451D-204F-1B0F-EBE2-CF70C51B116C}"/>
          </ac:picMkLst>
        </pc:picChg>
      </pc:sldChg>
      <pc:sldChg chg="addSp delSp modSp del mod modTransition modClrScheme chgLayout">
        <pc:chgData name="Danny P" userId="b214d6bb71249ca5" providerId="LiveId" clId="{0C340F2F-7155-40AB-A331-3FAF49351248}" dt="2023-11-22T12:13:29.699" v="1535" actId="2696"/>
        <pc:sldMkLst>
          <pc:docMk/>
          <pc:sldMk cId="108848340" sldId="274"/>
        </pc:sldMkLst>
        <pc:spChg chg="add del mod ord">
          <ac:chgData name="Danny P" userId="b214d6bb71249ca5" providerId="LiveId" clId="{0C340F2F-7155-40AB-A331-3FAF49351248}" dt="2023-11-15T09:54:35.007" v="41"/>
          <ac:spMkLst>
            <pc:docMk/>
            <pc:sldMk cId="108848340" sldId="274"/>
            <ac:spMk id="2" creationId="{D418B4C8-6886-8AF1-316F-344A6FBEF252}"/>
          </ac:spMkLst>
        </pc:spChg>
        <pc:spChg chg="mod ord">
          <ac:chgData name="Danny P" userId="b214d6bb71249ca5" providerId="LiveId" clId="{0C340F2F-7155-40AB-A331-3FAF49351248}" dt="2023-11-15T10:25:00.887" v="130" actId="700"/>
          <ac:spMkLst>
            <pc:docMk/>
            <pc:sldMk cId="108848340" sldId="274"/>
            <ac:spMk id="3" creationId="{E851AC7E-A50D-0943-77DC-182A9C3E20C4}"/>
          </ac:spMkLst>
        </pc:spChg>
        <pc:spChg chg="add del mod">
          <ac:chgData name="Danny P" userId="b214d6bb71249ca5" providerId="LiveId" clId="{0C340F2F-7155-40AB-A331-3FAF49351248}" dt="2023-11-15T09:54:35.007" v="41"/>
          <ac:spMkLst>
            <pc:docMk/>
            <pc:sldMk cId="108848340" sldId="274"/>
            <ac:spMk id="4" creationId="{59A5CC67-6233-DF39-31A5-9FAC5280DFAB}"/>
          </ac:spMkLst>
        </pc:spChg>
        <pc:spChg chg="add del mod ord">
          <ac:chgData name="Danny P" userId="b214d6bb71249ca5" providerId="LiveId" clId="{0C340F2F-7155-40AB-A331-3FAF49351248}" dt="2023-11-15T09:55:06.183" v="44" actId="700"/>
          <ac:spMkLst>
            <pc:docMk/>
            <pc:sldMk cId="108848340" sldId="274"/>
            <ac:spMk id="6" creationId="{0B8D7909-0C78-26AD-1C1D-14FB1A012EBB}"/>
          </ac:spMkLst>
        </pc:spChg>
        <pc:spChg chg="add del mod ord">
          <ac:chgData name="Danny P" userId="b214d6bb71249ca5" providerId="LiveId" clId="{0C340F2F-7155-40AB-A331-3FAF49351248}" dt="2023-11-15T10:24:22.035" v="127" actId="700"/>
          <ac:spMkLst>
            <pc:docMk/>
            <pc:sldMk cId="108848340" sldId="274"/>
            <ac:spMk id="7" creationId="{43A67E24-02BC-60B2-1CE7-EF2FAE278F05}"/>
          </ac:spMkLst>
        </pc:spChg>
        <pc:spChg chg="add del mod ord">
          <ac:chgData name="Danny P" userId="b214d6bb71249ca5" providerId="LiveId" clId="{0C340F2F-7155-40AB-A331-3FAF49351248}" dt="2023-11-15T10:24:28.127" v="128"/>
          <ac:spMkLst>
            <pc:docMk/>
            <pc:sldMk cId="108848340" sldId="274"/>
            <ac:spMk id="8" creationId="{14BB05E8-B297-5F44-CC4D-33ABD561F79E}"/>
          </ac:spMkLst>
        </pc:spChg>
        <pc:spChg chg="add del mod">
          <ac:chgData name="Danny P" userId="b214d6bb71249ca5" providerId="LiveId" clId="{0C340F2F-7155-40AB-A331-3FAF49351248}" dt="2023-11-15T10:24:28.127" v="128"/>
          <ac:spMkLst>
            <pc:docMk/>
            <pc:sldMk cId="108848340" sldId="274"/>
            <ac:spMk id="9" creationId="{9C8D0AF6-F833-2414-D4BB-B6F104BE5738}"/>
          </ac:spMkLst>
        </pc:spChg>
        <pc:spChg chg="add del mod ord">
          <ac:chgData name="Danny P" userId="b214d6bb71249ca5" providerId="LiveId" clId="{0C340F2F-7155-40AB-A331-3FAF49351248}" dt="2023-11-15T10:25:00.887" v="130" actId="700"/>
          <ac:spMkLst>
            <pc:docMk/>
            <pc:sldMk cId="108848340" sldId="274"/>
            <ac:spMk id="10" creationId="{4802B5F4-371F-4FA1-92EB-DC9D9743C7CB}"/>
          </ac:spMkLst>
        </pc:spChg>
        <pc:spChg chg="add mod ord">
          <ac:chgData name="Danny P" userId="b214d6bb71249ca5" providerId="LiveId" clId="{0C340F2F-7155-40AB-A331-3FAF49351248}" dt="2023-11-15T10:25:00.887" v="130" actId="700"/>
          <ac:spMkLst>
            <pc:docMk/>
            <pc:sldMk cId="108848340" sldId="274"/>
            <ac:spMk id="11" creationId="{013999F4-43A9-82BE-FB1D-58F8EED07A61}"/>
          </ac:spMkLst>
        </pc:spChg>
      </pc:sldChg>
      <pc:sldChg chg="addSp delSp modSp mod modTransition modClrScheme chgLayout">
        <pc:chgData name="Danny P" userId="b214d6bb71249ca5" providerId="LiveId" clId="{0C340F2F-7155-40AB-A331-3FAF49351248}" dt="2023-11-22T09:38:00.437" v="1441"/>
        <pc:sldMkLst>
          <pc:docMk/>
          <pc:sldMk cId="1963874368" sldId="275"/>
        </pc:sldMkLst>
        <pc:spChg chg="mod ord">
          <ac:chgData name="Danny P" userId="b214d6bb71249ca5" providerId="LiveId" clId="{0C340F2F-7155-40AB-A331-3FAF49351248}" dt="2023-11-15T10:24:28.127" v="128"/>
          <ac:spMkLst>
            <pc:docMk/>
            <pc:sldMk cId="1963874368" sldId="275"/>
            <ac:spMk id="2" creationId="{048BF9E5-52F3-EDF2-C583-42216E36FEB2}"/>
          </ac:spMkLst>
        </pc:spChg>
        <pc:spChg chg="del mod">
          <ac:chgData name="Danny P" userId="b214d6bb71249ca5" providerId="LiveId" clId="{0C340F2F-7155-40AB-A331-3FAF49351248}" dt="2023-11-15T09:54:19.372" v="39"/>
          <ac:spMkLst>
            <pc:docMk/>
            <pc:sldMk cId="1963874368" sldId="275"/>
            <ac:spMk id="7" creationId="{AA6024F9-37B6-EFBB-B705-0A9F8369477A}"/>
          </ac:spMkLst>
        </pc:spChg>
        <pc:spChg chg="add del mod">
          <ac:chgData name="Danny P" userId="b214d6bb71249ca5" providerId="LiveId" clId="{0C340F2F-7155-40AB-A331-3FAF49351248}" dt="2023-11-15T09:54:19.372" v="39"/>
          <ac:spMkLst>
            <pc:docMk/>
            <pc:sldMk cId="1963874368" sldId="275"/>
            <ac:spMk id="8" creationId="{B96933B3-4755-E31E-4F76-E833C9BF5E18}"/>
          </ac:spMkLst>
        </pc:spChg>
        <pc:spChg chg="add del mod ord">
          <ac:chgData name="Danny P" userId="b214d6bb71249ca5" providerId="LiveId" clId="{0C340F2F-7155-40AB-A331-3FAF49351248}" dt="2023-11-15T09:54:32.295" v="40" actId="700"/>
          <ac:spMkLst>
            <pc:docMk/>
            <pc:sldMk cId="1963874368" sldId="275"/>
            <ac:spMk id="9" creationId="{142C1655-2944-86C3-550A-15B3336E67A8}"/>
          </ac:spMkLst>
        </pc:spChg>
        <pc:spChg chg="add del mod ord">
          <ac:chgData name="Danny P" userId="b214d6bb71249ca5" providerId="LiveId" clId="{0C340F2F-7155-40AB-A331-3FAF49351248}" dt="2023-11-15T09:54:35.007" v="41"/>
          <ac:spMkLst>
            <pc:docMk/>
            <pc:sldMk cId="1963874368" sldId="275"/>
            <ac:spMk id="10" creationId="{B2C24AA8-E6B4-1D12-95DB-1A0CEA3723CE}"/>
          </ac:spMkLst>
        </pc:spChg>
        <pc:spChg chg="add del mod">
          <ac:chgData name="Danny P" userId="b214d6bb71249ca5" providerId="LiveId" clId="{0C340F2F-7155-40AB-A331-3FAF49351248}" dt="2023-11-15T09:54:35.007" v="41"/>
          <ac:spMkLst>
            <pc:docMk/>
            <pc:sldMk cId="1963874368" sldId="275"/>
            <ac:spMk id="11" creationId="{E09706AD-A15E-654E-85AD-395151FC32F3}"/>
          </ac:spMkLst>
        </pc:spChg>
        <pc:spChg chg="add del mod">
          <ac:chgData name="Danny P" userId="b214d6bb71249ca5" providerId="LiveId" clId="{0C340F2F-7155-40AB-A331-3FAF49351248}" dt="2023-11-15T10:24:22.035" v="127" actId="700"/>
          <ac:spMkLst>
            <pc:docMk/>
            <pc:sldMk cId="1963874368" sldId="275"/>
            <ac:spMk id="12" creationId="{B5FF7B96-571B-8D35-F462-789F5F8AD819}"/>
          </ac:spMkLst>
        </pc:spChg>
        <pc:spChg chg="add del mod ord">
          <ac:chgData name="Danny P" userId="b214d6bb71249ca5" providerId="LiveId" clId="{0C340F2F-7155-40AB-A331-3FAF49351248}" dt="2023-11-15T10:24:28.127" v="128"/>
          <ac:spMkLst>
            <pc:docMk/>
            <pc:sldMk cId="1963874368" sldId="275"/>
            <ac:spMk id="13" creationId="{B969BAF6-B5C6-C7E4-615B-F9249A42088B}"/>
          </ac:spMkLst>
        </pc:spChg>
        <pc:spChg chg="add del mod">
          <ac:chgData name="Danny P" userId="b214d6bb71249ca5" providerId="LiveId" clId="{0C340F2F-7155-40AB-A331-3FAF49351248}" dt="2023-11-15T10:24:28.127" v="128"/>
          <ac:spMkLst>
            <pc:docMk/>
            <pc:sldMk cId="1963874368" sldId="275"/>
            <ac:spMk id="14" creationId="{E04116F3-1105-D122-74CA-1DBCA607752C}"/>
          </ac:spMkLst>
        </pc:spChg>
        <pc:spChg chg="add mod">
          <ac:chgData name="Danny P" userId="b214d6bb71249ca5" providerId="LiveId" clId="{0C340F2F-7155-40AB-A331-3FAF49351248}" dt="2023-11-15T10:24:28.127" v="128"/>
          <ac:spMkLst>
            <pc:docMk/>
            <pc:sldMk cId="1963874368" sldId="275"/>
            <ac:spMk id="15" creationId="{94720E84-89AE-F3DA-5055-A01FBDB6C9B7}"/>
          </ac:spMkLst>
        </pc:spChg>
      </pc:sldChg>
      <pc:sldChg chg="addSp delSp modSp mod modTransition modClrScheme chgLayout">
        <pc:chgData name="Danny P" userId="b214d6bb71249ca5" providerId="LiveId" clId="{0C340F2F-7155-40AB-A331-3FAF49351248}" dt="2023-11-22T09:38:00.437" v="1441"/>
        <pc:sldMkLst>
          <pc:docMk/>
          <pc:sldMk cId="2491688915" sldId="276"/>
        </pc:sldMkLst>
        <pc:spChg chg="mod ord">
          <ac:chgData name="Danny P" userId="b214d6bb71249ca5" providerId="LiveId" clId="{0C340F2F-7155-40AB-A331-3FAF49351248}" dt="2023-11-15T10:24:28.127" v="128"/>
          <ac:spMkLst>
            <pc:docMk/>
            <pc:sldMk cId="2491688915" sldId="276"/>
            <ac:spMk id="2" creationId="{3B93D7A2-1735-6635-185B-397E40D6BFE2}"/>
          </ac:spMkLst>
        </pc:spChg>
        <pc:spChg chg="mod ord">
          <ac:chgData name="Danny P" userId="b214d6bb71249ca5" providerId="LiveId" clId="{0C340F2F-7155-40AB-A331-3FAF49351248}" dt="2023-11-15T10:24:28.127" v="128"/>
          <ac:spMkLst>
            <pc:docMk/>
            <pc:sldMk cId="2491688915" sldId="276"/>
            <ac:spMk id="3" creationId="{F0E181B9-751D-CA86-68EB-D09F259437FD}"/>
          </ac:spMkLst>
        </pc:spChg>
        <pc:spChg chg="add del mod">
          <ac:chgData name="Danny P" userId="b214d6bb71249ca5" providerId="LiveId" clId="{0C340F2F-7155-40AB-A331-3FAF49351248}" dt="2023-11-15T09:54:19.372" v="39"/>
          <ac:spMkLst>
            <pc:docMk/>
            <pc:sldMk cId="2491688915" sldId="276"/>
            <ac:spMk id="7" creationId="{191EB9E6-77F6-44B1-A744-85583150BFF7}"/>
          </ac:spMkLst>
        </pc:spChg>
        <pc:spChg chg="add del mod">
          <ac:chgData name="Danny P" userId="b214d6bb71249ca5" providerId="LiveId" clId="{0C340F2F-7155-40AB-A331-3FAF49351248}" dt="2023-11-15T09:54:19.372" v="39"/>
          <ac:spMkLst>
            <pc:docMk/>
            <pc:sldMk cId="2491688915" sldId="276"/>
            <ac:spMk id="8" creationId="{0F16E289-FC87-B7CB-9095-08A5D927C0F4}"/>
          </ac:spMkLst>
        </pc:spChg>
        <pc:spChg chg="add del mod">
          <ac:chgData name="Danny P" userId="b214d6bb71249ca5" providerId="LiveId" clId="{0C340F2F-7155-40AB-A331-3FAF49351248}" dt="2023-11-15T09:54:35.007" v="41"/>
          <ac:spMkLst>
            <pc:docMk/>
            <pc:sldMk cId="2491688915" sldId="276"/>
            <ac:spMk id="9" creationId="{CAC5FBB4-9104-455E-EF2E-B434EC212710}"/>
          </ac:spMkLst>
        </pc:spChg>
        <pc:spChg chg="add del mod">
          <ac:chgData name="Danny P" userId="b214d6bb71249ca5" providerId="LiveId" clId="{0C340F2F-7155-40AB-A331-3FAF49351248}" dt="2023-11-15T09:54:35.007" v="41"/>
          <ac:spMkLst>
            <pc:docMk/>
            <pc:sldMk cId="2491688915" sldId="276"/>
            <ac:spMk id="10" creationId="{A827FE49-22ED-2DC1-BD01-042AC433D692}"/>
          </ac:spMkLst>
        </pc:spChg>
        <pc:spChg chg="add del mod">
          <ac:chgData name="Danny P" userId="b214d6bb71249ca5" providerId="LiveId" clId="{0C340F2F-7155-40AB-A331-3FAF49351248}" dt="2023-11-15T10:24:28.127" v="128"/>
          <ac:spMkLst>
            <pc:docMk/>
            <pc:sldMk cId="2491688915" sldId="276"/>
            <ac:spMk id="11" creationId="{231741CB-3D73-EA88-3DFE-CAAE40F260E4}"/>
          </ac:spMkLst>
        </pc:spChg>
        <pc:spChg chg="add del mod">
          <ac:chgData name="Danny P" userId="b214d6bb71249ca5" providerId="LiveId" clId="{0C340F2F-7155-40AB-A331-3FAF49351248}" dt="2023-11-15T10:24:28.127" v="128"/>
          <ac:spMkLst>
            <pc:docMk/>
            <pc:sldMk cId="2491688915" sldId="276"/>
            <ac:spMk id="12" creationId="{B66952D9-B12C-A76D-590B-04F858E74D47}"/>
          </ac:spMkLst>
        </pc:spChg>
      </pc:sldChg>
      <pc:sldChg chg="addSp delSp modSp mod modTransition modClrScheme chgLayout">
        <pc:chgData name="Danny P" userId="b214d6bb71249ca5" providerId="LiveId" clId="{0C340F2F-7155-40AB-A331-3FAF49351248}" dt="2023-11-22T13:27:20.546" v="1818" actId="14100"/>
        <pc:sldMkLst>
          <pc:docMk/>
          <pc:sldMk cId="2693171285" sldId="277"/>
        </pc:sldMkLst>
        <pc:spChg chg="mod ord">
          <ac:chgData name="Danny P" userId="b214d6bb71249ca5" providerId="LiveId" clId="{0C340F2F-7155-40AB-A331-3FAF49351248}" dt="2023-11-15T10:24:28.127" v="128"/>
          <ac:spMkLst>
            <pc:docMk/>
            <pc:sldMk cId="2693171285" sldId="277"/>
            <ac:spMk id="2" creationId="{D2B5D86E-4D82-C8ED-7D3A-9178FFCF1C77}"/>
          </ac:spMkLst>
        </pc:spChg>
        <pc:spChg chg="mod ord">
          <ac:chgData name="Danny P" userId="b214d6bb71249ca5" providerId="LiveId" clId="{0C340F2F-7155-40AB-A331-3FAF49351248}" dt="2023-11-22T13:27:20.546" v="1818" actId="14100"/>
          <ac:spMkLst>
            <pc:docMk/>
            <pc:sldMk cId="2693171285" sldId="277"/>
            <ac:spMk id="3" creationId="{A11D482F-1EC6-8665-5291-3FA4A0735CC0}"/>
          </ac:spMkLst>
        </pc:spChg>
        <pc:spChg chg="add del mod">
          <ac:chgData name="Danny P" userId="b214d6bb71249ca5" providerId="LiveId" clId="{0C340F2F-7155-40AB-A331-3FAF49351248}" dt="2023-11-15T09:54:19.372" v="39"/>
          <ac:spMkLst>
            <pc:docMk/>
            <pc:sldMk cId="2693171285" sldId="277"/>
            <ac:spMk id="7" creationId="{2EAB8FB0-C4F3-7CE3-427F-16ADFB882F0F}"/>
          </ac:spMkLst>
        </pc:spChg>
        <pc:spChg chg="add del mod">
          <ac:chgData name="Danny P" userId="b214d6bb71249ca5" providerId="LiveId" clId="{0C340F2F-7155-40AB-A331-3FAF49351248}" dt="2023-11-15T09:54:19.372" v="39"/>
          <ac:spMkLst>
            <pc:docMk/>
            <pc:sldMk cId="2693171285" sldId="277"/>
            <ac:spMk id="8" creationId="{C211AAB2-DD1C-AC1C-A128-8E387175669A}"/>
          </ac:spMkLst>
        </pc:spChg>
        <pc:spChg chg="add del mod">
          <ac:chgData name="Danny P" userId="b214d6bb71249ca5" providerId="LiveId" clId="{0C340F2F-7155-40AB-A331-3FAF49351248}" dt="2023-11-15T09:54:35.007" v="41"/>
          <ac:spMkLst>
            <pc:docMk/>
            <pc:sldMk cId="2693171285" sldId="277"/>
            <ac:spMk id="9" creationId="{11434218-B9D4-5402-7C87-6CE04C68CCF2}"/>
          </ac:spMkLst>
        </pc:spChg>
        <pc:spChg chg="add del mod">
          <ac:chgData name="Danny P" userId="b214d6bb71249ca5" providerId="LiveId" clId="{0C340F2F-7155-40AB-A331-3FAF49351248}" dt="2023-11-15T09:54:35.007" v="41"/>
          <ac:spMkLst>
            <pc:docMk/>
            <pc:sldMk cId="2693171285" sldId="277"/>
            <ac:spMk id="10" creationId="{DBC5F6BC-66B6-B3EE-E5F3-756D90604C2B}"/>
          </ac:spMkLst>
        </pc:spChg>
        <pc:spChg chg="add del mod">
          <ac:chgData name="Danny P" userId="b214d6bb71249ca5" providerId="LiveId" clId="{0C340F2F-7155-40AB-A331-3FAF49351248}" dt="2023-11-15T10:24:28.127" v="128"/>
          <ac:spMkLst>
            <pc:docMk/>
            <pc:sldMk cId="2693171285" sldId="277"/>
            <ac:spMk id="11" creationId="{D5BB5479-412A-ACFE-E248-8643187323D6}"/>
          </ac:spMkLst>
        </pc:spChg>
        <pc:spChg chg="add del mod">
          <ac:chgData name="Danny P" userId="b214d6bb71249ca5" providerId="LiveId" clId="{0C340F2F-7155-40AB-A331-3FAF49351248}" dt="2023-11-15T10:24:28.127" v="128"/>
          <ac:spMkLst>
            <pc:docMk/>
            <pc:sldMk cId="2693171285" sldId="277"/>
            <ac:spMk id="12" creationId="{0340546B-7FE8-91CC-CF2A-15129BC7EBF0}"/>
          </ac:spMkLst>
        </pc:spChg>
      </pc:sldChg>
      <pc:sldChg chg="addSp delSp modSp mod modTransition modClrScheme chgLayout">
        <pc:chgData name="Danny P" userId="b214d6bb71249ca5" providerId="LiveId" clId="{0C340F2F-7155-40AB-A331-3FAF49351248}" dt="2023-11-22T09:38:00.437" v="1441"/>
        <pc:sldMkLst>
          <pc:docMk/>
          <pc:sldMk cId="2034320878" sldId="278"/>
        </pc:sldMkLst>
        <pc:spChg chg="mod ord">
          <ac:chgData name="Danny P" userId="b214d6bb71249ca5" providerId="LiveId" clId="{0C340F2F-7155-40AB-A331-3FAF49351248}" dt="2023-11-15T10:24:28.127" v="128"/>
          <ac:spMkLst>
            <pc:docMk/>
            <pc:sldMk cId="2034320878" sldId="278"/>
            <ac:spMk id="2" creationId="{A7B350BC-0F2A-BA17-C3E8-AB691E4D0F18}"/>
          </ac:spMkLst>
        </pc:spChg>
        <pc:spChg chg="add del mod">
          <ac:chgData name="Danny P" userId="b214d6bb71249ca5" providerId="LiveId" clId="{0C340F2F-7155-40AB-A331-3FAF49351248}" dt="2023-11-15T09:54:19.372" v="39"/>
          <ac:spMkLst>
            <pc:docMk/>
            <pc:sldMk cId="2034320878" sldId="278"/>
            <ac:spMk id="7" creationId="{93146013-4652-0D08-0F86-2D40FB4B39A6}"/>
          </ac:spMkLst>
        </pc:spChg>
        <pc:spChg chg="add del mod">
          <ac:chgData name="Danny P" userId="b214d6bb71249ca5" providerId="LiveId" clId="{0C340F2F-7155-40AB-A331-3FAF49351248}" dt="2023-11-15T09:54:19.372" v="39"/>
          <ac:spMkLst>
            <pc:docMk/>
            <pc:sldMk cId="2034320878" sldId="278"/>
            <ac:spMk id="8" creationId="{3E19929F-5652-1AB5-DC3B-7BA004E47B2A}"/>
          </ac:spMkLst>
        </pc:spChg>
        <pc:spChg chg="add del mod">
          <ac:chgData name="Danny P" userId="b214d6bb71249ca5" providerId="LiveId" clId="{0C340F2F-7155-40AB-A331-3FAF49351248}" dt="2023-11-15T09:54:35.007" v="41"/>
          <ac:spMkLst>
            <pc:docMk/>
            <pc:sldMk cId="2034320878" sldId="278"/>
            <ac:spMk id="9" creationId="{DECFB12F-3956-AF58-FEFE-75C0D754524D}"/>
          </ac:spMkLst>
        </pc:spChg>
        <pc:spChg chg="add del mod">
          <ac:chgData name="Danny P" userId="b214d6bb71249ca5" providerId="LiveId" clId="{0C340F2F-7155-40AB-A331-3FAF49351248}" dt="2023-11-15T09:54:35.007" v="41"/>
          <ac:spMkLst>
            <pc:docMk/>
            <pc:sldMk cId="2034320878" sldId="278"/>
            <ac:spMk id="10" creationId="{12BBAAFC-5393-9586-DFD3-8ADF8D3E6BB6}"/>
          </ac:spMkLst>
        </pc:spChg>
        <pc:spChg chg="add del mod">
          <ac:chgData name="Danny P" userId="b214d6bb71249ca5" providerId="LiveId" clId="{0C340F2F-7155-40AB-A331-3FAF49351248}" dt="2023-11-15T10:24:28.127" v="128"/>
          <ac:spMkLst>
            <pc:docMk/>
            <pc:sldMk cId="2034320878" sldId="278"/>
            <ac:spMk id="11" creationId="{A77AB7D5-A7F4-CC73-0DA4-F45F9E675AD6}"/>
          </ac:spMkLst>
        </pc:spChg>
        <pc:spChg chg="add del mod">
          <ac:chgData name="Danny P" userId="b214d6bb71249ca5" providerId="LiveId" clId="{0C340F2F-7155-40AB-A331-3FAF49351248}" dt="2023-11-15T10:24:28.127" v="128"/>
          <ac:spMkLst>
            <pc:docMk/>
            <pc:sldMk cId="2034320878" sldId="278"/>
            <ac:spMk id="12" creationId="{EF859D67-17C3-F40B-B94F-573AA5D02BA3}"/>
          </ac:spMkLst>
        </pc:spChg>
        <pc:graphicFrameChg chg="mod ord">
          <ac:chgData name="Danny P" userId="b214d6bb71249ca5" providerId="LiveId" clId="{0C340F2F-7155-40AB-A331-3FAF49351248}" dt="2023-11-15T10:24:22.035" v="127" actId="700"/>
          <ac:graphicFrameMkLst>
            <pc:docMk/>
            <pc:sldMk cId="2034320878" sldId="278"/>
            <ac:graphicFrameMk id="4" creationId="{FE24664B-D3C3-906B-0C75-19CB374F6475}"/>
          </ac:graphicFrameMkLst>
        </pc:graphicFrameChg>
      </pc:sldChg>
      <pc:sldChg chg="addSp delSp modSp mod modTransition modClrScheme chgLayout">
        <pc:chgData name="Danny P" userId="b214d6bb71249ca5" providerId="LiveId" clId="{0C340F2F-7155-40AB-A331-3FAF49351248}" dt="2023-11-22T09:39:19.253" v="1442"/>
        <pc:sldMkLst>
          <pc:docMk/>
          <pc:sldMk cId="1785380598" sldId="279"/>
        </pc:sldMkLst>
        <pc:spChg chg="del mod">
          <ac:chgData name="Danny P" userId="b214d6bb71249ca5" providerId="LiveId" clId="{0C340F2F-7155-40AB-A331-3FAF49351248}" dt="2023-11-15T09:54:19.372" v="39"/>
          <ac:spMkLst>
            <pc:docMk/>
            <pc:sldMk cId="1785380598" sldId="279"/>
            <ac:spMk id="4" creationId="{C2F268E0-DA07-837B-0971-3D3F63ECD2B5}"/>
          </ac:spMkLst>
        </pc:spChg>
        <pc:spChg chg="del mod">
          <ac:chgData name="Danny P" userId="b214d6bb71249ca5" providerId="LiveId" clId="{0C340F2F-7155-40AB-A331-3FAF49351248}" dt="2023-11-15T09:54:19.372" v="39"/>
          <ac:spMkLst>
            <pc:docMk/>
            <pc:sldMk cId="1785380598" sldId="279"/>
            <ac:spMk id="5" creationId="{600083A4-2814-4F13-F7D8-2473B1901A51}"/>
          </ac:spMkLst>
        </pc:spChg>
        <pc:spChg chg="add del mod ord">
          <ac:chgData name="Danny P" userId="b214d6bb71249ca5" providerId="LiveId" clId="{0C340F2F-7155-40AB-A331-3FAF49351248}" dt="2023-11-15T09:54:32.295" v="40" actId="700"/>
          <ac:spMkLst>
            <pc:docMk/>
            <pc:sldMk cId="1785380598" sldId="279"/>
            <ac:spMk id="6" creationId="{3902C54B-A90C-23A2-F90D-B072A9A159F8}"/>
          </ac:spMkLst>
        </pc:spChg>
        <pc:spChg chg="add del mod ord">
          <ac:chgData name="Danny P" userId="b214d6bb71249ca5" providerId="LiveId" clId="{0C340F2F-7155-40AB-A331-3FAF49351248}" dt="2023-11-15T09:54:32.295" v="40" actId="700"/>
          <ac:spMkLst>
            <pc:docMk/>
            <pc:sldMk cId="1785380598" sldId="279"/>
            <ac:spMk id="7" creationId="{7E3B4259-1EB0-D5C6-CC26-0C3D18201136}"/>
          </ac:spMkLst>
        </pc:spChg>
        <pc:spChg chg="add del mod ord">
          <ac:chgData name="Danny P" userId="b214d6bb71249ca5" providerId="LiveId" clId="{0C340F2F-7155-40AB-A331-3FAF49351248}" dt="2023-11-15T09:54:35.007" v="41"/>
          <ac:spMkLst>
            <pc:docMk/>
            <pc:sldMk cId="1785380598" sldId="279"/>
            <ac:spMk id="8" creationId="{2E160116-5AA6-E8CB-B9E3-A59AA3894C68}"/>
          </ac:spMkLst>
        </pc:spChg>
        <pc:spChg chg="add del mod ord">
          <ac:chgData name="Danny P" userId="b214d6bb71249ca5" providerId="LiveId" clId="{0C340F2F-7155-40AB-A331-3FAF49351248}" dt="2023-11-15T09:54:35.007" v="41"/>
          <ac:spMkLst>
            <pc:docMk/>
            <pc:sldMk cId="1785380598" sldId="279"/>
            <ac:spMk id="9" creationId="{8F1FBCE8-8E42-E8B9-1EDC-614A23B6039D}"/>
          </ac:spMkLst>
        </pc:spChg>
        <pc:spChg chg="add del mod">
          <ac:chgData name="Danny P" userId="b214d6bb71249ca5" providerId="LiveId" clId="{0C340F2F-7155-40AB-A331-3FAF49351248}" dt="2023-11-15T10:24:22.035" v="127" actId="700"/>
          <ac:spMkLst>
            <pc:docMk/>
            <pc:sldMk cId="1785380598" sldId="279"/>
            <ac:spMk id="10" creationId="{8595A585-0772-FECB-70D4-60D83189ED13}"/>
          </ac:spMkLst>
        </pc:spChg>
        <pc:spChg chg="add del mod">
          <ac:chgData name="Danny P" userId="b214d6bb71249ca5" providerId="LiveId" clId="{0C340F2F-7155-40AB-A331-3FAF49351248}" dt="2023-11-15T10:24:22.035" v="127" actId="700"/>
          <ac:spMkLst>
            <pc:docMk/>
            <pc:sldMk cId="1785380598" sldId="279"/>
            <ac:spMk id="11" creationId="{3784B089-19A7-8DE3-9D59-8CEAA21F61BD}"/>
          </ac:spMkLst>
        </pc:spChg>
        <pc:spChg chg="add del mod ord">
          <ac:chgData name="Danny P" userId="b214d6bb71249ca5" providerId="LiveId" clId="{0C340F2F-7155-40AB-A331-3FAF49351248}" dt="2023-11-15T10:24:28.127" v="128"/>
          <ac:spMkLst>
            <pc:docMk/>
            <pc:sldMk cId="1785380598" sldId="279"/>
            <ac:spMk id="13" creationId="{030B19DF-AEA8-A310-7E98-98BA5FB9F0A0}"/>
          </ac:spMkLst>
        </pc:spChg>
        <pc:spChg chg="add del mod ord">
          <ac:chgData name="Danny P" userId="b214d6bb71249ca5" providerId="LiveId" clId="{0C340F2F-7155-40AB-A331-3FAF49351248}" dt="2023-11-15T10:24:28.127" v="128"/>
          <ac:spMkLst>
            <pc:docMk/>
            <pc:sldMk cId="1785380598" sldId="279"/>
            <ac:spMk id="14" creationId="{71876EA9-0896-1043-DFD7-4FD8194EAF2C}"/>
          </ac:spMkLst>
        </pc:spChg>
        <pc:spChg chg="add del mod">
          <ac:chgData name="Danny P" userId="b214d6bb71249ca5" providerId="LiveId" clId="{0C340F2F-7155-40AB-A331-3FAF49351248}" dt="2023-11-22T09:17:45.990" v="1396" actId="700"/>
          <ac:spMkLst>
            <pc:docMk/>
            <pc:sldMk cId="1785380598" sldId="279"/>
            <ac:spMk id="15" creationId="{54382297-5669-3BCB-5526-CB9E9943ED4B}"/>
          </ac:spMkLst>
        </pc:spChg>
        <pc:spChg chg="add del mod">
          <ac:chgData name="Danny P" userId="b214d6bb71249ca5" providerId="LiveId" clId="{0C340F2F-7155-40AB-A331-3FAF49351248}" dt="2023-11-22T09:17:45.990" v="1396" actId="700"/>
          <ac:spMkLst>
            <pc:docMk/>
            <pc:sldMk cId="1785380598" sldId="279"/>
            <ac:spMk id="16" creationId="{3CF10EE1-3762-A904-73E4-0D46D0C85B68}"/>
          </ac:spMkLst>
        </pc:spChg>
        <pc:picChg chg="mod">
          <ac:chgData name="Danny P" userId="b214d6bb71249ca5" providerId="LiveId" clId="{0C340F2F-7155-40AB-A331-3FAF49351248}" dt="2023-11-22T09:19:03.999" v="1400" actId="1076"/>
          <ac:picMkLst>
            <pc:docMk/>
            <pc:sldMk cId="1785380598" sldId="279"/>
            <ac:picMk id="12" creationId="{2F08BF13-B878-AA0B-1494-E664E5B0FDED}"/>
          </ac:picMkLst>
        </pc:picChg>
      </pc:sldChg>
      <pc:sldChg chg="addSp delSp modSp del mod modClrScheme chgLayout">
        <pc:chgData name="Danny P" userId="b214d6bb71249ca5" providerId="LiveId" clId="{0C340F2F-7155-40AB-A331-3FAF49351248}" dt="2023-11-15T10:35:09.774" v="171" actId="47"/>
        <pc:sldMkLst>
          <pc:docMk/>
          <pc:sldMk cId="3975815435" sldId="281"/>
        </pc:sldMkLst>
        <pc:spChg chg="add del mod ord">
          <ac:chgData name="Danny P" userId="b214d6bb71249ca5" providerId="LiveId" clId="{0C340F2F-7155-40AB-A331-3FAF49351248}" dt="2023-11-15T09:54:35.007" v="41"/>
          <ac:spMkLst>
            <pc:docMk/>
            <pc:sldMk cId="3975815435" sldId="281"/>
            <ac:spMk id="2" creationId="{2845D6EB-EC40-021B-C0CE-D8F48C5074B0}"/>
          </ac:spMkLst>
        </pc:spChg>
        <pc:spChg chg="add del mod">
          <ac:chgData name="Danny P" userId="b214d6bb71249ca5" providerId="LiveId" clId="{0C340F2F-7155-40AB-A331-3FAF49351248}" dt="2023-11-15T09:54:35.007" v="41"/>
          <ac:spMkLst>
            <pc:docMk/>
            <pc:sldMk cId="3975815435" sldId="281"/>
            <ac:spMk id="3" creationId="{79A64A59-A514-C7FE-F21F-09087CDD07BC}"/>
          </ac:spMkLst>
        </pc:spChg>
        <pc:spChg chg="add del mod ord">
          <ac:chgData name="Danny P" userId="b214d6bb71249ca5" providerId="LiveId" clId="{0C340F2F-7155-40AB-A331-3FAF49351248}" dt="2023-11-15T09:54:51.302" v="43" actId="700"/>
          <ac:spMkLst>
            <pc:docMk/>
            <pc:sldMk cId="3975815435" sldId="281"/>
            <ac:spMk id="4" creationId="{87923FA4-CE33-CB35-5D28-0B98C9924DD1}"/>
          </ac:spMkLst>
        </pc:spChg>
        <pc:spChg chg="add del mod ord">
          <ac:chgData name="Danny P" userId="b214d6bb71249ca5" providerId="LiveId" clId="{0C340F2F-7155-40AB-A331-3FAF49351248}" dt="2023-11-15T10:24:22.035" v="127" actId="700"/>
          <ac:spMkLst>
            <pc:docMk/>
            <pc:sldMk cId="3975815435" sldId="281"/>
            <ac:spMk id="6" creationId="{58C9DFCE-0BBD-F1C9-20E2-D896FDEA029A}"/>
          </ac:spMkLst>
        </pc:spChg>
        <pc:spChg chg="add del mod ord">
          <ac:chgData name="Danny P" userId="b214d6bb71249ca5" providerId="LiveId" clId="{0C340F2F-7155-40AB-A331-3FAF49351248}" dt="2023-11-15T10:24:28.127" v="128"/>
          <ac:spMkLst>
            <pc:docMk/>
            <pc:sldMk cId="3975815435" sldId="281"/>
            <ac:spMk id="7" creationId="{733D0B5F-DDF2-4BF8-6BF3-CACF80EB2F8B}"/>
          </ac:spMkLst>
        </pc:spChg>
        <pc:spChg chg="add del mod">
          <ac:chgData name="Danny P" userId="b214d6bb71249ca5" providerId="LiveId" clId="{0C340F2F-7155-40AB-A331-3FAF49351248}" dt="2023-11-15T10:24:28.127" v="128"/>
          <ac:spMkLst>
            <pc:docMk/>
            <pc:sldMk cId="3975815435" sldId="281"/>
            <ac:spMk id="8" creationId="{C19BDDF3-4955-8B15-726E-6FD312C16619}"/>
          </ac:spMkLst>
        </pc:spChg>
        <pc:spChg chg="add del mod ord">
          <ac:chgData name="Danny P" userId="b214d6bb71249ca5" providerId="LiveId" clId="{0C340F2F-7155-40AB-A331-3FAF49351248}" dt="2023-11-15T10:25:00.887" v="130" actId="700"/>
          <ac:spMkLst>
            <pc:docMk/>
            <pc:sldMk cId="3975815435" sldId="281"/>
            <ac:spMk id="9" creationId="{C727D172-E266-1BF2-D168-1374FEF48E65}"/>
          </ac:spMkLst>
        </pc:spChg>
        <pc:spChg chg="add mod ord">
          <ac:chgData name="Danny P" userId="b214d6bb71249ca5" providerId="LiveId" clId="{0C340F2F-7155-40AB-A331-3FAF49351248}" dt="2023-11-15T10:25:00.887" v="130" actId="700"/>
          <ac:spMkLst>
            <pc:docMk/>
            <pc:sldMk cId="3975815435" sldId="281"/>
            <ac:spMk id="10" creationId="{A79B5B3F-98C2-F856-E812-61B450750934}"/>
          </ac:spMkLst>
        </pc:spChg>
        <pc:spChg chg="mod ord">
          <ac:chgData name="Danny P" userId="b214d6bb71249ca5" providerId="LiveId" clId="{0C340F2F-7155-40AB-A331-3FAF49351248}" dt="2023-11-15T10:25:00.887" v="130" actId="700"/>
          <ac:spMkLst>
            <pc:docMk/>
            <pc:sldMk cId="3975815435" sldId="281"/>
            <ac:spMk id="12" creationId="{012D7B95-1C82-DC02-A6C3-B1D772219D73}"/>
          </ac:spMkLst>
        </pc:spChg>
      </pc:sldChg>
      <pc:sldChg chg="addSp delSp modSp mod modTransition modClrScheme modAnim chgLayout">
        <pc:chgData name="Danny P" userId="b214d6bb71249ca5" providerId="LiveId" clId="{0C340F2F-7155-40AB-A331-3FAF49351248}" dt="2023-11-22T13:17:03.414" v="1789"/>
        <pc:sldMkLst>
          <pc:docMk/>
          <pc:sldMk cId="3972190166" sldId="282"/>
        </pc:sldMkLst>
        <pc:spChg chg="mod ord">
          <ac:chgData name="Danny P" userId="b214d6bb71249ca5" providerId="LiveId" clId="{0C340F2F-7155-40AB-A331-3FAF49351248}" dt="2023-11-15T10:24:28.127" v="128"/>
          <ac:spMkLst>
            <pc:docMk/>
            <pc:sldMk cId="3972190166" sldId="282"/>
            <ac:spMk id="2" creationId="{EB9F34BF-FC67-1125-A059-F89DC7D4330A}"/>
          </ac:spMkLst>
        </pc:spChg>
        <pc:spChg chg="mod ord">
          <ac:chgData name="Danny P" userId="b214d6bb71249ca5" providerId="LiveId" clId="{0C340F2F-7155-40AB-A331-3FAF49351248}" dt="2023-11-15T13:28:32.422" v="956" actId="1076"/>
          <ac:spMkLst>
            <pc:docMk/>
            <pc:sldMk cId="3972190166" sldId="282"/>
            <ac:spMk id="3" creationId="{96436F06-5390-934D-BBFE-5460F677273E}"/>
          </ac:spMkLst>
        </pc:spChg>
        <pc:spChg chg="add del mod">
          <ac:chgData name="Danny P" userId="b214d6bb71249ca5" providerId="LiveId" clId="{0C340F2F-7155-40AB-A331-3FAF49351248}" dt="2023-11-15T09:54:19.372" v="39"/>
          <ac:spMkLst>
            <pc:docMk/>
            <pc:sldMk cId="3972190166" sldId="282"/>
            <ac:spMk id="6" creationId="{B93D366F-DD85-4342-4F08-2F59EE3A76C6}"/>
          </ac:spMkLst>
        </pc:spChg>
        <pc:spChg chg="add del mod">
          <ac:chgData name="Danny P" userId="b214d6bb71249ca5" providerId="LiveId" clId="{0C340F2F-7155-40AB-A331-3FAF49351248}" dt="2023-11-15T09:54:19.372" v="39"/>
          <ac:spMkLst>
            <pc:docMk/>
            <pc:sldMk cId="3972190166" sldId="282"/>
            <ac:spMk id="7" creationId="{F4E8E558-CA97-F223-5ABD-77EAC64DC070}"/>
          </ac:spMkLst>
        </pc:spChg>
        <pc:spChg chg="add del mod">
          <ac:chgData name="Danny P" userId="b214d6bb71249ca5" providerId="LiveId" clId="{0C340F2F-7155-40AB-A331-3FAF49351248}" dt="2023-11-15T09:54:35.007" v="41"/>
          <ac:spMkLst>
            <pc:docMk/>
            <pc:sldMk cId="3972190166" sldId="282"/>
            <ac:spMk id="8" creationId="{65AF0655-5FB4-1C3A-0F0D-8FE796EDAD90}"/>
          </ac:spMkLst>
        </pc:spChg>
        <pc:spChg chg="add del mod">
          <ac:chgData name="Danny P" userId="b214d6bb71249ca5" providerId="LiveId" clId="{0C340F2F-7155-40AB-A331-3FAF49351248}" dt="2023-11-15T09:54:35.007" v="41"/>
          <ac:spMkLst>
            <pc:docMk/>
            <pc:sldMk cId="3972190166" sldId="282"/>
            <ac:spMk id="9" creationId="{049F97D1-F4C3-13C6-D7E2-EA3CA551D996}"/>
          </ac:spMkLst>
        </pc:spChg>
        <pc:spChg chg="add del mod">
          <ac:chgData name="Danny P" userId="b214d6bb71249ca5" providerId="LiveId" clId="{0C340F2F-7155-40AB-A331-3FAF49351248}" dt="2023-11-15T10:24:28.127" v="128"/>
          <ac:spMkLst>
            <pc:docMk/>
            <pc:sldMk cId="3972190166" sldId="282"/>
            <ac:spMk id="10" creationId="{033F66E1-00EA-4B44-DDAA-406BC1FC55B4}"/>
          </ac:spMkLst>
        </pc:spChg>
        <pc:spChg chg="add del mod">
          <ac:chgData name="Danny P" userId="b214d6bb71249ca5" providerId="LiveId" clId="{0C340F2F-7155-40AB-A331-3FAF49351248}" dt="2023-11-15T10:24:28.127" v="128"/>
          <ac:spMkLst>
            <pc:docMk/>
            <pc:sldMk cId="3972190166" sldId="282"/>
            <ac:spMk id="11" creationId="{DC52C9BA-27D4-AF23-A2DD-2340DAB39162}"/>
          </ac:spMkLst>
        </pc:spChg>
        <pc:picChg chg="add mod ord">
          <ac:chgData name="Danny P" userId="b214d6bb71249ca5" providerId="LiveId" clId="{0C340F2F-7155-40AB-A331-3FAF49351248}" dt="2023-11-22T13:17:03.414" v="1789"/>
          <ac:picMkLst>
            <pc:docMk/>
            <pc:sldMk cId="3972190166" sldId="282"/>
            <ac:picMk id="5" creationId="{DE7213D3-AC51-0C84-B976-32AC5B92013B}"/>
          </ac:picMkLst>
        </pc:picChg>
      </pc:sldChg>
      <pc:sldChg chg="modSp new mod ord modTransition">
        <pc:chgData name="Danny P" userId="b214d6bb71249ca5" providerId="LiveId" clId="{0C340F2F-7155-40AB-A331-3FAF49351248}" dt="2023-11-22T12:47:15.749" v="1626"/>
        <pc:sldMkLst>
          <pc:docMk/>
          <pc:sldMk cId="2981708615" sldId="283"/>
        </pc:sldMkLst>
        <pc:spChg chg="mod">
          <ac:chgData name="Danny P" userId="b214d6bb71249ca5" providerId="LiveId" clId="{0C340F2F-7155-40AB-A331-3FAF49351248}" dt="2023-11-15T10:34:34.010" v="170" actId="20577"/>
          <ac:spMkLst>
            <pc:docMk/>
            <pc:sldMk cId="2981708615" sldId="283"/>
            <ac:spMk id="2" creationId="{F3EAAB4D-1ACD-7A96-92D8-866EF365F42C}"/>
          </ac:spMkLst>
        </pc:spChg>
      </pc:sldChg>
      <pc:sldChg chg="addSp delSp modSp new mod modTransition modClrScheme delAnim modAnim chgLayout">
        <pc:chgData name="Danny P" userId="b214d6bb71249ca5" providerId="LiveId" clId="{0C340F2F-7155-40AB-A331-3FAF49351248}" dt="2023-11-22T12:48:05.316" v="1645" actId="27115"/>
        <pc:sldMkLst>
          <pc:docMk/>
          <pc:sldMk cId="4129734412" sldId="284"/>
        </pc:sldMkLst>
        <pc:spChg chg="del">
          <ac:chgData name="Danny P" userId="b214d6bb71249ca5" providerId="LiveId" clId="{0C340F2F-7155-40AB-A331-3FAF49351248}" dt="2023-11-15T10:38:43.155" v="174" actId="700"/>
          <ac:spMkLst>
            <pc:docMk/>
            <pc:sldMk cId="4129734412" sldId="284"/>
            <ac:spMk id="2" creationId="{87DB2868-1615-5DD5-30B4-A954FB2445C8}"/>
          </ac:spMkLst>
        </pc:spChg>
        <pc:graphicFrameChg chg="add mod modGraphic">
          <ac:chgData name="Danny P" userId="b214d6bb71249ca5" providerId="LiveId" clId="{0C340F2F-7155-40AB-A331-3FAF49351248}" dt="2023-11-22T12:48:05.316" v="1645" actId="27115"/>
          <ac:graphicFrameMkLst>
            <pc:docMk/>
            <pc:sldMk cId="4129734412" sldId="284"/>
            <ac:graphicFrameMk id="5" creationId="{7C937D0D-8776-3C33-ADCC-4E1E9B81890A}"/>
          </ac:graphicFrameMkLst>
        </pc:graphicFrameChg>
        <pc:picChg chg="add del mod">
          <ac:chgData name="Danny P" userId="b214d6bb71249ca5" providerId="LiveId" clId="{0C340F2F-7155-40AB-A331-3FAF49351248}" dt="2023-11-22T09:36:40.550" v="1440"/>
          <ac:picMkLst>
            <pc:docMk/>
            <pc:sldMk cId="4129734412" sldId="284"/>
            <ac:picMk id="3" creationId="{777759B2-FD79-A2F0-9F64-D43E38BAE63A}"/>
          </ac:picMkLst>
        </pc:picChg>
        <pc:picChg chg="del">
          <ac:chgData name="Danny P" userId="b214d6bb71249ca5" providerId="LiveId" clId="{0C340F2F-7155-40AB-A331-3FAF49351248}" dt="2023-11-22T10:23:38.529" v="1469" actId="478"/>
          <ac:picMkLst>
            <pc:docMk/>
            <pc:sldMk cId="4129734412" sldId="284"/>
            <ac:picMk id="6" creationId="{3002C8BF-C49C-C0E4-CD58-01EC155F9314}"/>
          </ac:picMkLst>
        </pc:picChg>
      </pc:sldChg>
      <pc:sldChg chg="addSp delSp modSp add mod modTransition modAnim">
        <pc:chgData name="Danny P" userId="b214d6bb71249ca5" providerId="LiveId" clId="{0C340F2F-7155-40AB-A331-3FAF49351248}" dt="2023-11-22T13:30:00.036" v="1821" actId="478"/>
        <pc:sldMkLst>
          <pc:docMk/>
          <pc:sldMk cId="2465406265" sldId="285"/>
        </pc:sldMkLst>
        <pc:spChg chg="mod">
          <ac:chgData name="Danny P" userId="b214d6bb71249ca5" providerId="LiveId" clId="{0C340F2F-7155-40AB-A331-3FAF49351248}" dt="2023-11-15T12:53:59.166" v="604" actId="20577"/>
          <ac:spMkLst>
            <pc:docMk/>
            <pc:sldMk cId="2465406265" sldId="285"/>
            <ac:spMk id="4" creationId="{23240087-A7B7-6EFB-C41A-6BE2335586ED}"/>
          </ac:spMkLst>
        </pc:spChg>
        <pc:spChg chg="mod topLvl">
          <ac:chgData name="Danny P" userId="b214d6bb71249ca5" providerId="LiveId" clId="{0C340F2F-7155-40AB-A331-3FAF49351248}" dt="2023-11-15T12:52:30.547" v="564" actId="1076"/>
          <ac:spMkLst>
            <pc:docMk/>
            <pc:sldMk cId="2465406265" sldId="285"/>
            <ac:spMk id="5" creationId="{207086E7-5C9D-F8DC-7C60-6BD40406DD66}"/>
          </ac:spMkLst>
        </pc:spChg>
        <pc:spChg chg="mod topLvl">
          <ac:chgData name="Danny P" userId="b214d6bb71249ca5" providerId="LiveId" clId="{0C340F2F-7155-40AB-A331-3FAF49351248}" dt="2023-11-15T13:20:59.680" v="878" actId="20577"/>
          <ac:spMkLst>
            <pc:docMk/>
            <pc:sldMk cId="2465406265" sldId="285"/>
            <ac:spMk id="6" creationId="{BEB8EC4C-5C60-0F98-152B-B2989C4A00F3}"/>
          </ac:spMkLst>
        </pc:spChg>
        <pc:spChg chg="mod topLvl">
          <ac:chgData name="Danny P" userId="b214d6bb71249ca5" providerId="LiveId" clId="{0C340F2F-7155-40AB-A331-3FAF49351248}" dt="2023-11-15T12:52:30.547" v="564" actId="1076"/>
          <ac:spMkLst>
            <pc:docMk/>
            <pc:sldMk cId="2465406265" sldId="285"/>
            <ac:spMk id="7" creationId="{467308FD-1811-0962-6952-9F19868F7389}"/>
          </ac:spMkLst>
        </pc:spChg>
        <pc:spChg chg="mod topLvl">
          <ac:chgData name="Danny P" userId="b214d6bb71249ca5" providerId="LiveId" clId="{0C340F2F-7155-40AB-A331-3FAF49351248}" dt="2023-11-15T12:53:12.070" v="579" actId="404"/>
          <ac:spMkLst>
            <pc:docMk/>
            <pc:sldMk cId="2465406265" sldId="285"/>
            <ac:spMk id="8" creationId="{1E8611BD-B0E8-85AD-C031-8E90F2FFBD05}"/>
          </ac:spMkLst>
        </pc:spChg>
        <pc:spChg chg="mod topLvl">
          <ac:chgData name="Danny P" userId="b214d6bb71249ca5" providerId="LiveId" clId="{0C340F2F-7155-40AB-A331-3FAF49351248}" dt="2023-11-15T12:53:12.070" v="579" actId="404"/>
          <ac:spMkLst>
            <pc:docMk/>
            <pc:sldMk cId="2465406265" sldId="285"/>
            <ac:spMk id="9" creationId="{595A3D7D-3740-1078-6004-679E77A7C0A7}"/>
          </ac:spMkLst>
        </pc:spChg>
        <pc:spChg chg="mod topLvl">
          <ac:chgData name="Danny P" userId="b214d6bb71249ca5" providerId="LiveId" clId="{0C340F2F-7155-40AB-A331-3FAF49351248}" dt="2023-11-15T12:53:12.070" v="579" actId="404"/>
          <ac:spMkLst>
            <pc:docMk/>
            <pc:sldMk cId="2465406265" sldId="285"/>
            <ac:spMk id="10" creationId="{14CA5E9B-027A-2910-797C-C175BA9D3694}"/>
          </ac:spMkLst>
        </pc:spChg>
        <pc:spChg chg="mod topLvl">
          <ac:chgData name="Danny P" userId="b214d6bb71249ca5" providerId="LiveId" clId="{0C340F2F-7155-40AB-A331-3FAF49351248}" dt="2023-11-15T12:52:30.547" v="564" actId="1076"/>
          <ac:spMkLst>
            <pc:docMk/>
            <pc:sldMk cId="2465406265" sldId="285"/>
            <ac:spMk id="11" creationId="{E81AE9B4-B9FC-1B37-0FD2-BF4730EA9B4D}"/>
          </ac:spMkLst>
        </pc:spChg>
        <pc:spChg chg="add mod ord">
          <ac:chgData name="Danny P" userId="b214d6bb71249ca5" providerId="LiveId" clId="{0C340F2F-7155-40AB-A331-3FAF49351248}" dt="2023-11-15T12:53:30.533" v="580" actId="171"/>
          <ac:spMkLst>
            <pc:docMk/>
            <pc:sldMk cId="2465406265" sldId="285"/>
            <ac:spMk id="12" creationId="{A18E3B9D-C7D9-FE4A-1B8E-88ED544B8759}"/>
          </ac:spMkLst>
        </pc:spChg>
        <pc:grpChg chg="del mod">
          <ac:chgData name="Danny P" userId="b214d6bb71249ca5" providerId="LiveId" clId="{0C340F2F-7155-40AB-A331-3FAF49351248}" dt="2023-11-15T12:51:07.535" v="444" actId="165"/>
          <ac:grpSpMkLst>
            <pc:docMk/>
            <pc:sldMk cId="2465406265" sldId="285"/>
            <ac:grpSpMk id="3" creationId="{48DDC2CE-B146-81DC-CE39-B95DB9FE716F}"/>
          </ac:grpSpMkLst>
        </pc:grpChg>
        <pc:grpChg chg="add mod">
          <ac:chgData name="Danny P" userId="b214d6bb71249ca5" providerId="LiveId" clId="{0C340F2F-7155-40AB-A331-3FAF49351248}" dt="2023-11-15T12:54:22.526" v="606" actId="1076"/>
          <ac:grpSpMkLst>
            <pc:docMk/>
            <pc:sldMk cId="2465406265" sldId="285"/>
            <ac:grpSpMk id="13" creationId="{E74C0B31-A567-3D59-2371-8F89EF221EFB}"/>
          </ac:grpSpMkLst>
        </pc:grpChg>
        <pc:graphicFrameChg chg="del">
          <ac:chgData name="Danny P" userId="b214d6bb71249ca5" providerId="LiveId" clId="{0C340F2F-7155-40AB-A331-3FAF49351248}" dt="2023-11-15T12:50:45.358" v="443" actId="18245"/>
          <ac:graphicFrameMkLst>
            <pc:docMk/>
            <pc:sldMk cId="2465406265" sldId="285"/>
            <ac:graphicFrameMk id="2" creationId="{E5114EDD-1F3C-B6F7-9370-BD58ED6499E8}"/>
          </ac:graphicFrameMkLst>
        </pc:graphicFrameChg>
        <pc:graphicFrameChg chg="add del mod modGraphic">
          <ac:chgData name="Danny P" userId="b214d6bb71249ca5" providerId="LiveId" clId="{0C340F2F-7155-40AB-A331-3FAF49351248}" dt="2023-11-22T13:30:00.036" v="1821" actId="478"/>
          <ac:graphicFrameMkLst>
            <pc:docMk/>
            <pc:sldMk cId="2465406265" sldId="285"/>
            <ac:graphicFrameMk id="3" creationId="{EDBDF960-C719-F973-CE9D-A072FDCF31A9}"/>
          </ac:graphicFrameMkLst>
        </pc:graphicFrameChg>
        <pc:picChg chg="del">
          <ac:chgData name="Danny P" userId="b214d6bb71249ca5" providerId="LiveId" clId="{0C340F2F-7155-40AB-A331-3FAF49351248}" dt="2023-11-22T12:17:43.055" v="1548" actId="478"/>
          <ac:picMkLst>
            <pc:docMk/>
            <pc:sldMk cId="2465406265" sldId="285"/>
            <ac:picMk id="2" creationId="{B96B21BA-182E-3148-9DDB-C2124806B7C8}"/>
          </ac:picMkLst>
        </pc:picChg>
      </pc:sldChg>
      <pc:sldChg chg="addSp delSp modSp new mod modTransition">
        <pc:chgData name="Danny P" userId="b214d6bb71249ca5" providerId="LiveId" clId="{0C340F2F-7155-40AB-A331-3FAF49351248}" dt="2023-11-22T09:38:00.437" v="1441"/>
        <pc:sldMkLst>
          <pc:docMk/>
          <pc:sldMk cId="2233938455" sldId="286"/>
        </pc:sldMkLst>
        <pc:spChg chg="mod">
          <ac:chgData name="Danny P" userId="b214d6bb71249ca5" providerId="LiveId" clId="{0C340F2F-7155-40AB-A331-3FAF49351248}" dt="2023-11-15T13:30:03.192" v="1000" actId="20577"/>
          <ac:spMkLst>
            <pc:docMk/>
            <pc:sldMk cId="2233938455" sldId="286"/>
            <ac:spMk id="2" creationId="{4510507D-31E0-508E-C470-4565DA50FEE4}"/>
          </ac:spMkLst>
        </pc:spChg>
        <pc:spChg chg="del">
          <ac:chgData name="Danny P" userId="b214d6bb71249ca5" providerId="LiveId" clId="{0C340F2F-7155-40AB-A331-3FAF49351248}" dt="2023-11-15T13:30:50.926" v="1001" actId="3680"/>
          <ac:spMkLst>
            <pc:docMk/>
            <pc:sldMk cId="2233938455" sldId="286"/>
            <ac:spMk id="3" creationId="{B2FE8BDD-161A-1B56-C943-3AF918D0B837}"/>
          </ac:spMkLst>
        </pc:spChg>
        <pc:spChg chg="add del mod">
          <ac:chgData name="Danny P" userId="b214d6bb71249ca5" providerId="LiveId" clId="{0C340F2F-7155-40AB-A331-3FAF49351248}" dt="2023-11-15T15:30:05.295" v="1214" actId="478"/>
          <ac:spMkLst>
            <pc:docMk/>
            <pc:sldMk cId="2233938455" sldId="286"/>
            <ac:spMk id="5" creationId="{C8679A8C-DF88-4778-9A27-16DEED03C0A1}"/>
          </ac:spMkLst>
        </pc:spChg>
        <pc:graphicFrameChg chg="add del mod ord modGraphic">
          <ac:chgData name="Danny P" userId="b214d6bb71249ca5" providerId="LiveId" clId="{0C340F2F-7155-40AB-A331-3FAF49351248}" dt="2023-11-15T15:29:57.904" v="1213" actId="478"/>
          <ac:graphicFrameMkLst>
            <pc:docMk/>
            <pc:sldMk cId="2233938455" sldId="286"/>
            <ac:graphicFrameMk id="4" creationId="{A568077B-5E1E-AED8-6339-8B3741C902FC}"/>
          </ac:graphicFrameMkLst>
        </pc:graphicFrameChg>
        <pc:picChg chg="add mod">
          <ac:chgData name="Danny P" userId="b214d6bb71249ca5" providerId="LiveId" clId="{0C340F2F-7155-40AB-A331-3FAF49351248}" dt="2023-11-22T09:03:22.049" v="1372" actId="1076"/>
          <ac:picMkLst>
            <pc:docMk/>
            <pc:sldMk cId="2233938455" sldId="286"/>
            <ac:picMk id="6" creationId="{42D45CE3-23D1-ED3D-D4F0-0A19C0F4B56A}"/>
          </ac:picMkLst>
        </pc:picChg>
      </pc:sldChg>
      <pc:sldChg chg="addSp delSp modSp add mod modTransition">
        <pc:chgData name="Danny P" userId="b214d6bb71249ca5" providerId="LiveId" clId="{0C340F2F-7155-40AB-A331-3FAF49351248}" dt="2023-11-22T09:38:00.437" v="1441"/>
        <pc:sldMkLst>
          <pc:docMk/>
          <pc:sldMk cId="1433827520" sldId="287"/>
        </pc:sldMkLst>
        <pc:spChg chg="mod">
          <ac:chgData name="Danny P" userId="b214d6bb71249ca5" providerId="LiveId" clId="{0C340F2F-7155-40AB-A331-3FAF49351248}" dt="2023-11-22T08:42:43.979" v="1284" actId="20577"/>
          <ac:spMkLst>
            <pc:docMk/>
            <pc:sldMk cId="1433827520" sldId="287"/>
            <ac:spMk id="2" creationId="{00000000-0000-0000-0000-000000000000}"/>
          </ac:spMkLst>
        </pc:spChg>
        <pc:graphicFrameChg chg="add mod">
          <ac:chgData name="Danny P" userId="b214d6bb71249ca5" providerId="LiveId" clId="{0C340F2F-7155-40AB-A331-3FAF49351248}" dt="2023-11-22T08:48:25.997" v="1366"/>
          <ac:graphicFrameMkLst>
            <pc:docMk/>
            <pc:sldMk cId="1433827520" sldId="287"/>
            <ac:graphicFrameMk id="3" creationId="{00000000-0008-0000-0000-000003000000}"/>
          </ac:graphicFrameMkLst>
        </pc:graphicFrameChg>
        <pc:graphicFrameChg chg="del">
          <ac:chgData name="Danny P" userId="b214d6bb71249ca5" providerId="LiveId" clId="{0C340F2F-7155-40AB-A331-3FAF49351248}" dt="2023-11-22T08:42:50.065" v="1285" actId="478"/>
          <ac:graphicFrameMkLst>
            <pc:docMk/>
            <pc:sldMk cId="1433827520" sldId="287"/>
            <ac:graphicFrameMk id="8" creationId="{00000000-0008-0000-0000-000002000000}"/>
          </ac:graphicFrameMkLst>
        </pc:graphicFrameChg>
      </pc:sldChg>
      <pc:sldChg chg="addSp delSp modSp add mod modTransition modClrScheme chgLayout">
        <pc:chgData name="Danny P" userId="b214d6bb71249ca5" providerId="LiveId" clId="{0C340F2F-7155-40AB-A331-3FAF49351248}" dt="2023-11-22T09:38:00.437" v="1441"/>
        <pc:sldMkLst>
          <pc:docMk/>
          <pc:sldMk cId="1492138564" sldId="288"/>
        </pc:sldMkLst>
        <pc:spChg chg="add del mod ord">
          <ac:chgData name="Danny P" userId="b214d6bb71249ca5" providerId="LiveId" clId="{0C340F2F-7155-40AB-A331-3FAF49351248}" dt="2023-11-22T09:20:40.081" v="1412" actId="700"/>
          <ac:spMkLst>
            <pc:docMk/>
            <pc:sldMk cId="1492138564" sldId="288"/>
            <ac:spMk id="2" creationId="{12E320FE-E768-A951-15FD-E61C00DAE7C7}"/>
          </ac:spMkLst>
        </pc:spChg>
        <pc:spChg chg="add del mod ord">
          <ac:chgData name="Danny P" userId="b214d6bb71249ca5" providerId="LiveId" clId="{0C340F2F-7155-40AB-A331-3FAF49351248}" dt="2023-11-22T09:20:40.081" v="1412" actId="700"/>
          <ac:spMkLst>
            <pc:docMk/>
            <pc:sldMk cId="1492138564" sldId="288"/>
            <ac:spMk id="3" creationId="{C4D135E2-56E0-CB7B-4D88-86E449BB276C}"/>
          </ac:spMkLst>
        </pc:spChg>
        <pc:spChg chg="add mod ord">
          <ac:chgData name="Danny P" userId="b214d6bb71249ca5" providerId="LiveId" clId="{0C340F2F-7155-40AB-A331-3FAF49351248}" dt="2023-11-22T09:20:50.172" v="1427" actId="20577"/>
          <ac:spMkLst>
            <pc:docMk/>
            <pc:sldMk cId="1492138564" sldId="288"/>
            <ac:spMk id="4" creationId="{DC97CC8D-62CB-1DB3-4A7D-FF9322EB398C}"/>
          </ac:spMkLst>
        </pc:spChg>
        <pc:picChg chg="mod modCrop">
          <ac:chgData name="Danny P" userId="b214d6bb71249ca5" providerId="LiveId" clId="{0C340F2F-7155-40AB-A331-3FAF49351248}" dt="2023-11-22T09:21:03.134" v="1429" actId="1076"/>
          <ac:picMkLst>
            <pc:docMk/>
            <pc:sldMk cId="1492138564" sldId="288"/>
            <ac:picMk id="12" creationId="{2F08BF13-B878-AA0B-1494-E664E5B0FDED}"/>
          </ac:picMkLst>
        </pc:picChg>
      </pc:sldChg>
      <pc:sldChg chg="addSp delSp modSp add mod ord modClrScheme delAnim modAnim modShow chgLayout">
        <pc:chgData name="Danny P" userId="b214d6bb71249ca5" providerId="LiveId" clId="{0C340F2F-7155-40AB-A331-3FAF49351248}" dt="2023-11-22T12:35:00.660" v="1600"/>
        <pc:sldMkLst>
          <pc:docMk/>
          <pc:sldMk cId="3133154532" sldId="3546"/>
        </pc:sldMkLst>
        <pc:spChg chg="mod ord">
          <ac:chgData name="Danny P" userId="b214d6bb71249ca5" providerId="LiveId" clId="{0C340F2F-7155-40AB-A331-3FAF49351248}" dt="2023-11-22T12:25:34.619" v="1554" actId="700"/>
          <ac:spMkLst>
            <pc:docMk/>
            <pc:sldMk cId="3133154532" sldId="3546"/>
            <ac:spMk id="2" creationId="{5462B2E7-3FE0-77FF-28AB-119B38A86EC0}"/>
          </ac:spMkLst>
        </pc:spChg>
        <pc:spChg chg="del mod">
          <ac:chgData name="Danny P" userId="b214d6bb71249ca5" providerId="LiveId" clId="{0C340F2F-7155-40AB-A331-3FAF49351248}" dt="2023-11-22T12:25:37.507" v="1556"/>
          <ac:spMkLst>
            <pc:docMk/>
            <pc:sldMk cId="3133154532" sldId="3546"/>
            <ac:spMk id="3" creationId="{A45A6EC3-EDFC-63E1-7B6A-D98600AB3C42}"/>
          </ac:spMkLst>
        </pc:spChg>
        <pc:spChg chg="del">
          <ac:chgData name="Danny P" userId="b214d6bb71249ca5" providerId="LiveId" clId="{0C340F2F-7155-40AB-A331-3FAF49351248}" dt="2023-11-22T12:26:49.286" v="1593" actId="478"/>
          <ac:spMkLst>
            <pc:docMk/>
            <pc:sldMk cId="3133154532" sldId="3546"/>
            <ac:spMk id="4" creationId="{1236F51D-FA72-67F4-57A2-A0341A7494BD}"/>
          </ac:spMkLst>
        </pc:spChg>
        <pc:spChg chg="del mod">
          <ac:chgData name="Danny P" userId="b214d6bb71249ca5" providerId="LiveId" clId="{0C340F2F-7155-40AB-A331-3FAF49351248}" dt="2023-11-22T12:26:04.230" v="1560" actId="478"/>
          <ac:spMkLst>
            <pc:docMk/>
            <pc:sldMk cId="3133154532" sldId="3546"/>
            <ac:spMk id="6" creationId="{4E5F634B-7C15-1EB7-84D5-FCC106198D41}"/>
          </ac:spMkLst>
        </pc:spChg>
        <pc:spChg chg="del">
          <ac:chgData name="Danny P" userId="b214d6bb71249ca5" providerId="LiveId" clId="{0C340F2F-7155-40AB-A331-3FAF49351248}" dt="2023-11-22T12:27:01.396" v="1594" actId="478"/>
          <ac:spMkLst>
            <pc:docMk/>
            <pc:sldMk cId="3133154532" sldId="3546"/>
            <ac:spMk id="7" creationId="{32447ACF-7A3D-2509-A49F-076B4B888AA3}"/>
          </ac:spMkLst>
        </pc:spChg>
        <pc:spChg chg="del">
          <ac:chgData name="Danny P" userId="b214d6bb71249ca5" providerId="LiveId" clId="{0C340F2F-7155-40AB-A331-3FAF49351248}" dt="2023-11-22T12:27:01.396" v="1594" actId="478"/>
          <ac:spMkLst>
            <pc:docMk/>
            <pc:sldMk cId="3133154532" sldId="3546"/>
            <ac:spMk id="8" creationId="{BA6DD8D4-83EA-C98B-9905-6D5BCDB3B7FA}"/>
          </ac:spMkLst>
        </pc:spChg>
        <pc:spChg chg="del">
          <ac:chgData name="Danny P" userId="b214d6bb71249ca5" providerId="LiveId" clId="{0C340F2F-7155-40AB-A331-3FAF49351248}" dt="2023-11-22T12:27:01.396" v="1594" actId="478"/>
          <ac:spMkLst>
            <pc:docMk/>
            <pc:sldMk cId="3133154532" sldId="3546"/>
            <ac:spMk id="9" creationId="{3AEA9353-7E17-596E-86C2-53A8F1AD3AD3}"/>
          </ac:spMkLst>
        </pc:spChg>
        <pc:spChg chg="add mod ord">
          <ac:chgData name="Danny P" userId="b214d6bb71249ca5" providerId="LiveId" clId="{0C340F2F-7155-40AB-A331-3FAF49351248}" dt="2023-11-22T12:26:32.763" v="1591" actId="14100"/>
          <ac:spMkLst>
            <pc:docMk/>
            <pc:sldMk cId="3133154532" sldId="3546"/>
            <ac:spMk id="10" creationId="{C98F2DF1-AE08-35A1-631E-20D05F1A35C6}"/>
          </ac:spMkLst>
        </pc:spChg>
        <pc:picChg chg="mod">
          <ac:chgData name="Danny P" userId="b214d6bb71249ca5" providerId="LiveId" clId="{0C340F2F-7155-40AB-A331-3FAF49351248}" dt="2023-11-22T12:27:18.896" v="1597" actId="1076"/>
          <ac:picMkLst>
            <pc:docMk/>
            <pc:sldMk cId="3133154532" sldId="3546"/>
            <ac:picMk id="11" creationId="{5D8B9123-19FB-636F-B909-8DAF571222D2}"/>
          </ac:picMkLst>
        </pc:picChg>
        <pc:cxnChg chg="del">
          <ac:chgData name="Danny P" userId="b214d6bb71249ca5" providerId="LiveId" clId="{0C340F2F-7155-40AB-A331-3FAF49351248}" dt="2023-11-22T12:27:01.396" v="1594" actId="478"/>
          <ac:cxnSpMkLst>
            <pc:docMk/>
            <pc:sldMk cId="3133154532" sldId="3546"/>
            <ac:cxnSpMk id="12" creationId="{87A7DD9C-E494-2F68-B08F-CDDFA8C98D5B}"/>
          </ac:cxnSpMkLst>
        </pc:cxnChg>
        <pc:cxnChg chg="del">
          <ac:chgData name="Danny P" userId="b214d6bb71249ca5" providerId="LiveId" clId="{0C340F2F-7155-40AB-A331-3FAF49351248}" dt="2023-11-22T12:27:01.396" v="1594" actId="478"/>
          <ac:cxnSpMkLst>
            <pc:docMk/>
            <pc:sldMk cId="3133154532" sldId="3546"/>
            <ac:cxnSpMk id="13" creationId="{60C140E2-1292-25D3-77A1-C37F78E3AF4C}"/>
          </ac:cxnSpMkLst>
        </pc:cxnChg>
        <pc:cxnChg chg="del">
          <ac:chgData name="Danny P" userId="b214d6bb71249ca5" providerId="LiveId" clId="{0C340F2F-7155-40AB-A331-3FAF49351248}" dt="2023-11-22T12:27:01.396" v="1594" actId="478"/>
          <ac:cxnSpMkLst>
            <pc:docMk/>
            <pc:sldMk cId="3133154532" sldId="3546"/>
            <ac:cxnSpMk id="14" creationId="{7F58831B-50DB-3009-5DF5-B5316C3F352B}"/>
          </ac:cxnSpMkLst>
        </pc:cxnChg>
      </pc:sldChg>
      <pc:sldChg chg="addSp delSp modSp new mod modClrScheme chgLayout">
        <pc:chgData name="Danny P" userId="b214d6bb71249ca5" providerId="LiveId" clId="{0C340F2F-7155-40AB-A331-3FAF49351248}" dt="2023-11-22T12:47:38.635" v="1644" actId="20577"/>
        <pc:sldMkLst>
          <pc:docMk/>
          <pc:sldMk cId="3581995055" sldId="3547"/>
        </pc:sldMkLst>
        <pc:spChg chg="del mod ord">
          <ac:chgData name="Danny P" userId="b214d6bb71249ca5" providerId="LiveId" clId="{0C340F2F-7155-40AB-A331-3FAF49351248}" dt="2023-11-22T12:47:32.663" v="1628" actId="700"/>
          <ac:spMkLst>
            <pc:docMk/>
            <pc:sldMk cId="3581995055" sldId="3547"/>
            <ac:spMk id="2" creationId="{B77B0A1E-840C-A21F-0F8F-1EB9BE2F8E34}"/>
          </ac:spMkLst>
        </pc:spChg>
        <pc:spChg chg="del mod ord">
          <ac:chgData name="Danny P" userId="b214d6bb71249ca5" providerId="LiveId" clId="{0C340F2F-7155-40AB-A331-3FAF49351248}" dt="2023-11-22T12:47:32.663" v="1628" actId="700"/>
          <ac:spMkLst>
            <pc:docMk/>
            <pc:sldMk cId="3581995055" sldId="3547"/>
            <ac:spMk id="3" creationId="{9F7E0C20-46A6-C0CE-B3AC-8718081A3926}"/>
          </ac:spMkLst>
        </pc:spChg>
        <pc:spChg chg="add mod ord">
          <ac:chgData name="Danny P" userId="b214d6bb71249ca5" providerId="LiveId" clId="{0C340F2F-7155-40AB-A331-3FAF49351248}" dt="2023-11-22T12:47:38.635" v="1644" actId="20577"/>
          <ac:spMkLst>
            <pc:docMk/>
            <pc:sldMk cId="3581995055" sldId="3547"/>
            <ac:spMk id="4" creationId="{40DC6B44-90FC-CFBE-4536-96CFC65F0230}"/>
          </ac:spMkLst>
        </pc:spChg>
        <pc:spChg chg="add mod ord">
          <ac:chgData name="Danny P" userId="b214d6bb71249ca5" providerId="LiveId" clId="{0C340F2F-7155-40AB-A331-3FAF49351248}" dt="2023-11-22T12:47:32.663" v="1628" actId="700"/>
          <ac:spMkLst>
            <pc:docMk/>
            <pc:sldMk cId="3581995055" sldId="3547"/>
            <ac:spMk id="5" creationId="{B6847F41-5D7D-E1ED-5629-7A85C60B80A7}"/>
          </ac:spMkLst>
        </pc:spChg>
      </pc:sldChg>
      <pc:sldChg chg="addSp delSp modSp new mod">
        <pc:chgData name="Danny P" userId="b214d6bb71249ca5" providerId="LiveId" clId="{0C340F2F-7155-40AB-A331-3FAF49351248}" dt="2023-11-22T13:23:45.537" v="1817" actId="14100"/>
        <pc:sldMkLst>
          <pc:docMk/>
          <pc:sldMk cId="3814061092" sldId="3548"/>
        </pc:sldMkLst>
        <pc:picChg chg="add mod modCrop">
          <ac:chgData name="Danny P" userId="b214d6bb71249ca5" providerId="LiveId" clId="{0C340F2F-7155-40AB-A331-3FAF49351248}" dt="2023-11-22T13:23:39.335" v="1815" actId="1076"/>
          <ac:picMkLst>
            <pc:docMk/>
            <pc:sldMk cId="3814061092" sldId="3548"/>
            <ac:picMk id="2" creationId="{F50E7FFA-B6DB-5587-195B-6B577A4FA434}"/>
          </ac:picMkLst>
        </pc:picChg>
        <pc:picChg chg="add mod">
          <ac:chgData name="Danny P" userId="b214d6bb71249ca5" providerId="LiveId" clId="{0C340F2F-7155-40AB-A331-3FAF49351248}" dt="2023-11-22T13:23:45.537" v="1817" actId="14100"/>
          <ac:picMkLst>
            <pc:docMk/>
            <pc:sldMk cId="3814061092" sldId="3548"/>
            <ac:picMk id="1026" creationId="{D25ACBC6-7F3A-3415-AFC2-511634E34492}"/>
          </ac:picMkLst>
        </pc:picChg>
        <pc:picChg chg="add del mod">
          <ac:chgData name="Danny P" userId="b214d6bb71249ca5" providerId="LiveId" clId="{0C340F2F-7155-40AB-A331-3FAF49351248}" dt="2023-11-22T13:20:41.279" v="1804" actId="478"/>
          <ac:picMkLst>
            <pc:docMk/>
            <pc:sldMk cId="3814061092" sldId="3548"/>
            <ac:picMk id="1028" creationId="{B27F080B-CB98-DD5D-FD67-8AEECFEEE959}"/>
          </ac:picMkLst>
        </pc:picChg>
      </pc:sldChg>
      <pc:sldMasterChg chg="del delSldLayout modSldLayout">
        <pc:chgData name="Danny P" userId="b214d6bb71249ca5" providerId="LiveId" clId="{0C340F2F-7155-40AB-A331-3FAF49351248}" dt="2023-11-15T09:56:33.173" v="112" actId="2696"/>
        <pc:sldMasterMkLst>
          <pc:docMk/>
          <pc:sldMasterMk cId="848279442" sldId="2147483698"/>
        </pc:sldMasterMkLst>
        <pc:sldLayoutChg chg="del">
          <pc:chgData name="Danny P" userId="b214d6bb71249ca5" providerId="LiveId" clId="{0C340F2F-7155-40AB-A331-3FAF49351248}" dt="2023-11-15T09:56:33.167" v="111" actId="2696"/>
          <pc:sldLayoutMkLst>
            <pc:docMk/>
            <pc:sldMasterMk cId="848279442" sldId="2147483698"/>
            <pc:sldLayoutMk cId="79901097" sldId="2147483685"/>
          </pc:sldLayoutMkLst>
        </pc:sldLayoutChg>
        <pc:sldLayoutChg chg="modSp del mod">
          <pc:chgData name="Danny P" userId="b214d6bb71249ca5" providerId="LiveId" clId="{0C340F2F-7155-40AB-A331-3FAF49351248}" dt="2023-11-15T09:56:32.814" v="51" actId="2696"/>
          <pc:sldLayoutMkLst>
            <pc:docMk/>
            <pc:sldMasterMk cId="848279442" sldId="2147483698"/>
            <pc:sldLayoutMk cId="2196789573" sldId="2147483699"/>
          </pc:sldLayoutMkLst>
          <pc:spChg chg="mod">
            <ac:chgData name="Danny P" userId="b214d6bb71249ca5" providerId="LiveId" clId="{0C340F2F-7155-40AB-A331-3FAF49351248}" dt="2023-11-15T09:52:08.750" v="33" actId="403"/>
            <ac:spMkLst>
              <pc:docMk/>
              <pc:sldMasterMk cId="848279442" sldId="2147483698"/>
              <pc:sldLayoutMk cId="2196789573" sldId="2147483699"/>
              <ac:spMk id="11" creationId="{88847217-51B9-4546-ABDC-6A27E7775F65}"/>
            </ac:spMkLst>
          </pc:spChg>
          <pc:spChg chg="mod">
            <ac:chgData name="Danny P" userId="b214d6bb71249ca5" providerId="LiveId" clId="{0C340F2F-7155-40AB-A331-3FAF49351248}" dt="2023-11-15T09:51:22.365" v="23" actId="1076"/>
            <ac:spMkLst>
              <pc:docMk/>
              <pc:sldMasterMk cId="848279442" sldId="2147483698"/>
              <pc:sldLayoutMk cId="2196789573" sldId="2147483699"/>
              <ac:spMk id="14" creationId="{485053B2-4F70-44C6-AC30-F95FD94A3494}"/>
            </ac:spMkLst>
          </pc:spChg>
        </pc:sldLayoutChg>
        <pc:sldLayoutChg chg="del">
          <pc:chgData name="Danny P" userId="b214d6bb71249ca5" providerId="LiveId" clId="{0C340F2F-7155-40AB-A331-3FAF49351248}" dt="2023-11-15T09:56:32.822" v="52" actId="2696"/>
          <pc:sldLayoutMkLst>
            <pc:docMk/>
            <pc:sldMasterMk cId="848279442" sldId="2147483698"/>
            <pc:sldLayoutMk cId="684724545" sldId="2147483700"/>
          </pc:sldLayoutMkLst>
        </pc:sldLayoutChg>
        <pc:sldLayoutChg chg="del">
          <pc:chgData name="Danny P" userId="b214d6bb71249ca5" providerId="LiveId" clId="{0C340F2F-7155-40AB-A331-3FAF49351248}" dt="2023-11-15T09:56:32.829" v="53" actId="2696"/>
          <pc:sldLayoutMkLst>
            <pc:docMk/>
            <pc:sldMasterMk cId="848279442" sldId="2147483698"/>
            <pc:sldLayoutMk cId="1681534908" sldId="2147483701"/>
          </pc:sldLayoutMkLst>
        </pc:sldLayoutChg>
        <pc:sldLayoutChg chg="del">
          <pc:chgData name="Danny P" userId="b214d6bb71249ca5" providerId="LiveId" clId="{0C340F2F-7155-40AB-A331-3FAF49351248}" dt="2023-11-15T09:56:32.835" v="54" actId="2696"/>
          <pc:sldLayoutMkLst>
            <pc:docMk/>
            <pc:sldMasterMk cId="848279442" sldId="2147483698"/>
            <pc:sldLayoutMk cId="1647081668" sldId="2147483702"/>
          </pc:sldLayoutMkLst>
        </pc:sldLayoutChg>
        <pc:sldLayoutChg chg="del">
          <pc:chgData name="Danny P" userId="b214d6bb71249ca5" providerId="LiveId" clId="{0C340F2F-7155-40AB-A331-3FAF49351248}" dt="2023-11-15T09:56:32.840" v="55" actId="2696"/>
          <pc:sldLayoutMkLst>
            <pc:docMk/>
            <pc:sldMasterMk cId="848279442" sldId="2147483698"/>
            <pc:sldLayoutMk cId="1359230548" sldId="2147483703"/>
          </pc:sldLayoutMkLst>
        </pc:sldLayoutChg>
        <pc:sldLayoutChg chg="del">
          <pc:chgData name="Danny P" userId="b214d6bb71249ca5" providerId="LiveId" clId="{0C340F2F-7155-40AB-A331-3FAF49351248}" dt="2023-11-15T09:56:32.845" v="56" actId="2696"/>
          <pc:sldLayoutMkLst>
            <pc:docMk/>
            <pc:sldMasterMk cId="848279442" sldId="2147483698"/>
            <pc:sldLayoutMk cId="3793385507" sldId="2147483704"/>
          </pc:sldLayoutMkLst>
        </pc:sldLayoutChg>
        <pc:sldLayoutChg chg="del">
          <pc:chgData name="Danny P" userId="b214d6bb71249ca5" providerId="LiveId" clId="{0C340F2F-7155-40AB-A331-3FAF49351248}" dt="2023-11-15T09:56:32.851" v="57" actId="2696"/>
          <pc:sldLayoutMkLst>
            <pc:docMk/>
            <pc:sldMasterMk cId="848279442" sldId="2147483698"/>
            <pc:sldLayoutMk cId="2950730642" sldId="2147483705"/>
          </pc:sldLayoutMkLst>
        </pc:sldLayoutChg>
        <pc:sldLayoutChg chg="del">
          <pc:chgData name="Danny P" userId="b214d6bb71249ca5" providerId="LiveId" clId="{0C340F2F-7155-40AB-A331-3FAF49351248}" dt="2023-11-15T09:56:32.863" v="58" actId="2696"/>
          <pc:sldLayoutMkLst>
            <pc:docMk/>
            <pc:sldMasterMk cId="848279442" sldId="2147483698"/>
            <pc:sldLayoutMk cId="2803603953" sldId="2147483706"/>
          </pc:sldLayoutMkLst>
        </pc:sldLayoutChg>
        <pc:sldLayoutChg chg="del">
          <pc:chgData name="Danny P" userId="b214d6bb71249ca5" providerId="LiveId" clId="{0C340F2F-7155-40AB-A331-3FAF49351248}" dt="2023-11-15T09:56:32.869" v="59" actId="2696"/>
          <pc:sldLayoutMkLst>
            <pc:docMk/>
            <pc:sldMasterMk cId="848279442" sldId="2147483698"/>
            <pc:sldLayoutMk cId="3684396649" sldId="2147483707"/>
          </pc:sldLayoutMkLst>
        </pc:sldLayoutChg>
        <pc:sldLayoutChg chg="del">
          <pc:chgData name="Danny P" userId="b214d6bb71249ca5" providerId="LiveId" clId="{0C340F2F-7155-40AB-A331-3FAF49351248}" dt="2023-11-15T09:56:32.874" v="60" actId="2696"/>
          <pc:sldLayoutMkLst>
            <pc:docMk/>
            <pc:sldMasterMk cId="848279442" sldId="2147483698"/>
            <pc:sldLayoutMk cId="1142909812" sldId="2147483708"/>
          </pc:sldLayoutMkLst>
        </pc:sldLayoutChg>
        <pc:sldLayoutChg chg="del">
          <pc:chgData name="Danny P" userId="b214d6bb71249ca5" providerId="LiveId" clId="{0C340F2F-7155-40AB-A331-3FAF49351248}" dt="2023-11-15T09:56:32.880" v="61" actId="2696"/>
          <pc:sldLayoutMkLst>
            <pc:docMk/>
            <pc:sldMasterMk cId="848279442" sldId="2147483698"/>
            <pc:sldLayoutMk cId="3410140033" sldId="2147483709"/>
          </pc:sldLayoutMkLst>
        </pc:sldLayoutChg>
        <pc:sldLayoutChg chg="del">
          <pc:chgData name="Danny P" userId="b214d6bb71249ca5" providerId="LiveId" clId="{0C340F2F-7155-40AB-A331-3FAF49351248}" dt="2023-11-15T09:56:32.885" v="62" actId="2696"/>
          <pc:sldLayoutMkLst>
            <pc:docMk/>
            <pc:sldMasterMk cId="848279442" sldId="2147483698"/>
            <pc:sldLayoutMk cId="2881579164" sldId="2147483710"/>
          </pc:sldLayoutMkLst>
        </pc:sldLayoutChg>
        <pc:sldLayoutChg chg="del">
          <pc:chgData name="Danny P" userId="b214d6bb71249ca5" providerId="LiveId" clId="{0C340F2F-7155-40AB-A331-3FAF49351248}" dt="2023-11-15T09:56:32.890" v="63" actId="2696"/>
          <pc:sldLayoutMkLst>
            <pc:docMk/>
            <pc:sldMasterMk cId="848279442" sldId="2147483698"/>
            <pc:sldLayoutMk cId="1233870492" sldId="2147483711"/>
          </pc:sldLayoutMkLst>
        </pc:sldLayoutChg>
        <pc:sldLayoutChg chg="del">
          <pc:chgData name="Danny P" userId="b214d6bb71249ca5" providerId="LiveId" clId="{0C340F2F-7155-40AB-A331-3FAF49351248}" dt="2023-11-15T09:56:32.896" v="64" actId="2696"/>
          <pc:sldLayoutMkLst>
            <pc:docMk/>
            <pc:sldMasterMk cId="848279442" sldId="2147483698"/>
            <pc:sldLayoutMk cId="1211603974" sldId="2147483712"/>
          </pc:sldLayoutMkLst>
        </pc:sldLayoutChg>
        <pc:sldLayoutChg chg="del">
          <pc:chgData name="Danny P" userId="b214d6bb71249ca5" providerId="LiveId" clId="{0C340F2F-7155-40AB-A331-3FAF49351248}" dt="2023-11-15T09:56:32.901" v="65" actId="2696"/>
          <pc:sldLayoutMkLst>
            <pc:docMk/>
            <pc:sldMasterMk cId="848279442" sldId="2147483698"/>
            <pc:sldLayoutMk cId="725155679" sldId="2147483713"/>
          </pc:sldLayoutMkLst>
        </pc:sldLayoutChg>
        <pc:sldLayoutChg chg="del">
          <pc:chgData name="Danny P" userId="b214d6bb71249ca5" providerId="LiveId" clId="{0C340F2F-7155-40AB-A331-3FAF49351248}" dt="2023-11-15T09:56:32.910" v="66" actId="2696"/>
          <pc:sldLayoutMkLst>
            <pc:docMk/>
            <pc:sldMasterMk cId="848279442" sldId="2147483698"/>
            <pc:sldLayoutMk cId="3451342101" sldId="2147483714"/>
          </pc:sldLayoutMkLst>
        </pc:sldLayoutChg>
        <pc:sldLayoutChg chg="del">
          <pc:chgData name="Danny P" userId="b214d6bb71249ca5" providerId="LiveId" clId="{0C340F2F-7155-40AB-A331-3FAF49351248}" dt="2023-11-15T09:56:32.916" v="67" actId="2696"/>
          <pc:sldLayoutMkLst>
            <pc:docMk/>
            <pc:sldMasterMk cId="848279442" sldId="2147483698"/>
            <pc:sldLayoutMk cId="484217597" sldId="2147483715"/>
          </pc:sldLayoutMkLst>
        </pc:sldLayoutChg>
        <pc:sldLayoutChg chg="del">
          <pc:chgData name="Danny P" userId="b214d6bb71249ca5" providerId="LiveId" clId="{0C340F2F-7155-40AB-A331-3FAF49351248}" dt="2023-11-15T09:56:32.922" v="68" actId="2696"/>
          <pc:sldLayoutMkLst>
            <pc:docMk/>
            <pc:sldMasterMk cId="848279442" sldId="2147483698"/>
            <pc:sldLayoutMk cId="2836971300" sldId="2147483716"/>
          </pc:sldLayoutMkLst>
        </pc:sldLayoutChg>
        <pc:sldLayoutChg chg="del">
          <pc:chgData name="Danny P" userId="b214d6bb71249ca5" providerId="LiveId" clId="{0C340F2F-7155-40AB-A331-3FAF49351248}" dt="2023-11-15T09:56:32.927" v="69" actId="2696"/>
          <pc:sldLayoutMkLst>
            <pc:docMk/>
            <pc:sldMasterMk cId="848279442" sldId="2147483698"/>
            <pc:sldLayoutMk cId="489169774" sldId="2147483717"/>
          </pc:sldLayoutMkLst>
        </pc:sldLayoutChg>
        <pc:sldLayoutChg chg="del">
          <pc:chgData name="Danny P" userId="b214d6bb71249ca5" providerId="LiveId" clId="{0C340F2F-7155-40AB-A331-3FAF49351248}" dt="2023-11-15T09:56:32.932" v="70" actId="2696"/>
          <pc:sldLayoutMkLst>
            <pc:docMk/>
            <pc:sldMasterMk cId="848279442" sldId="2147483698"/>
            <pc:sldLayoutMk cId="4148605116" sldId="2147483718"/>
          </pc:sldLayoutMkLst>
        </pc:sldLayoutChg>
        <pc:sldLayoutChg chg="del">
          <pc:chgData name="Danny P" userId="b214d6bb71249ca5" providerId="LiveId" clId="{0C340F2F-7155-40AB-A331-3FAF49351248}" dt="2023-11-15T09:56:32.937" v="71" actId="2696"/>
          <pc:sldLayoutMkLst>
            <pc:docMk/>
            <pc:sldMasterMk cId="848279442" sldId="2147483698"/>
            <pc:sldLayoutMk cId="2067242720" sldId="2147483719"/>
          </pc:sldLayoutMkLst>
        </pc:sldLayoutChg>
        <pc:sldLayoutChg chg="del">
          <pc:chgData name="Danny P" userId="b214d6bb71249ca5" providerId="LiveId" clId="{0C340F2F-7155-40AB-A331-3FAF49351248}" dt="2023-11-15T09:56:32.943" v="72" actId="2696"/>
          <pc:sldLayoutMkLst>
            <pc:docMk/>
            <pc:sldMasterMk cId="848279442" sldId="2147483698"/>
            <pc:sldLayoutMk cId="2208615576" sldId="2147483720"/>
          </pc:sldLayoutMkLst>
        </pc:sldLayoutChg>
        <pc:sldLayoutChg chg="del">
          <pc:chgData name="Danny P" userId="b214d6bb71249ca5" providerId="LiveId" clId="{0C340F2F-7155-40AB-A331-3FAF49351248}" dt="2023-11-15T09:56:32.948" v="73" actId="2696"/>
          <pc:sldLayoutMkLst>
            <pc:docMk/>
            <pc:sldMasterMk cId="848279442" sldId="2147483698"/>
            <pc:sldLayoutMk cId="3538381949" sldId="2147483721"/>
          </pc:sldLayoutMkLst>
        </pc:sldLayoutChg>
        <pc:sldLayoutChg chg="del">
          <pc:chgData name="Danny P" userId="b214d6bb71249ca5" providerId="LiveId" clId="{0C340F2F-7155-40AB-A331-3FAF49351248}" dt="2023-11-15T09:56:32.957" v="74" actId="2696"/>
          <pc:sldLayoutMkLst>
            <pc:docMk/>
            <pc:sldMasterMk cId="848279442" sldId="2147483698"/>
            <pc:sldLayoutMk cId="3757367015" sldId="2147483722"/>
          </pc:sldLayoutMkLst>
        </pc:sldLayoutChg>
        <pc:sldLayoutChg chg="del">
          <pc:chgData name="Danny P" userId="b214d6bb71249ca5" providerId="LiveId" clId="{0C340F2F-7155-40AB-A331-3FAF49351248}" dt="2023-11-15T09:56:32.962" v="75" actId="2696"/>
          <pc:sldLayoutMkLst>
            <pc:docMk/>
            <pc:sldMasterMk cId="848279442" sldId="2147483698"/>
            <pc:sldLayoutMk cId="4186022382" sldId="2147483723"/>
          </pc:sldLayoutMkLst>
        </pc:sldLayoutChg>
        <pc:sldLayoutChg chg="del">
          <pc:chgData name="Danny P" userId="b214d6bb71249ca5" providerId="LiveId" clId="{0C340F2F-7155-40AB-A331-3FAF49351248}" dt="2023-11-15T09:56:32.967" v="76" actId="2696"/>
          <pc:sldLayoutMkLst>
            <pc:docMk/>
            <pc:sldMasterMk cId="848279442" sldId="2147483698"/>
            <pc:sldLayoutMk cId="3110202643" sldId="2147483724"/>
          </pc:sldLayoutMkLst>
        </pc:sldLayoutChg>
        <pc:sldLayoutChg chg="del">
          <pc:chgData name="Danny P" userId="b214d6bb71249ca5" providerId="LiveId" clId="{0C340F2F-7155-40AB-A331-3FAF49351248}" dt="2023-11-15T09:56:32.974" v="77" actId="2696"/>
          <pc:sldLayoutMkLst>
            <pc:docMk/>
            <pc:sldMasterMk cId="848279442" sldId="2147483698"/>
            <pc:sldLayoutMk cId="920694317" sldId="2147483725"/>
          </pc:sldLayoutMkLst>
        </pc:sldLayoutChg>
        <pc:sldLayoutChg chg="del">
          <pc:chgData name="Danny P" userId="b214d6bb71249ca5" providerId="LiveId" clId="{0C340F2F-7155-40AB-A331-3FAF49351248}" dt="2023-11-15T09:56:32.981" v="78" actId="2696"/>
          <pc:sldLayoutMkLst>
            <pc:docMk/>
            <pc:sldMasterMk cId="848279442" sldId="2147483698"/>
            <pc:sldLayoutMk cId="109151240" sldId="2147483726"/>
          </pc:sldLayoutMkLst>
        </pc:sldLayoutChg>
        <pc:sldLayoutChg chg="del">
          <pc:chgData name="Danny P" userId="b214d6bb71249ca5" providerId="LiveId" clId="{0C340F2F-7155-40AB-A331-3FAF49351248}" dt="2023-11-15T09:56:32.989" v="79" actId="2696"/>
          <pc:sldLayoutMkLst>
            <pc:docMk/>
            <pc:sldMasterMk cId="848279442" sldId="2147483698"/>
            <pc:sldLayoutMk cId="4070483261" sldId="2147483727"/>
          </pc:sldLayoutMkLst>
        </pc:sldLayoutChg>
        <pc:sldLayoutChg chg="del">
          <pc:chgData name="Danny P" userId="b214d6bb71249ca5" providerId="LiveId" clId="{0C340F2F-7155-40AB-A331-3FAF49351248}" dt="2023-11-15T09:56:32.996" v="80" actId="2696"/>
          <pc:sldLayoutMkLst>
            <pc:docMk/>
            <pc:sldMasterMk cId="848279442" sldId="2147483698"/>
            <pc:sldLayoutMk cId="3251188522" sldId="2147483728"/>
          </pc:sldLayoutMkLst>
        </pc:sldLayoutChg>
        <pc:sldLayoutChg chg="del">
          <pc:chgData name="Danny P" userId="b214d6bb71249ca5" providerId="LiveId" clId="{0C340F2F-7155-40AB-A331-3FAF49351248}" dt="2023-11-15T09:56:33.002" v="81" actId="2696"/>
          <pc:sldLayoutMkLst>
            <pc:docMk/>
            <pc:sldMasterMk cId="848279442" sldId="2147483698"/>
            <pc:sldLayoutMk cId="3129474099" sldId="2147483729"/>
          </pc:sldLayoutMkLst>
        </pc:sldLayoutChg>
        <pc:sldLayoutChg chg="del">
          <pc:chgData name="Danny P" userId="b214d6bb71249ca5" providerId="LiveId" clId="{0C340F2F-7155-40AB-A331-3FAF49351248}" dt="2023-11-15T09:56:33.012" v="82" actId="2696"/>
          <pc:sldLayoutMkLst>
            <pc:docMk/>
            <pc:sldMasterMk cId="848279442" sldId="2147483698"/>
            <pc:sldLayoutMk cId="3718323233" sldId="2147483730"/>
          </pc:sldLayoutMkLst>
        </pc:sldLayoutChg>
        <pc:sldLayoutChg chg="del">
          <pc:chgData name="Danny P" userId="b214d6bb71249ca5" providerId="LiveId" clId="{0C340F2F-7155-40AB-A331-3FAF49351248}" dt="2023-11-15T09:56:33.019" v="83" actId="2696"/>
          <pc:sldLayoutMkLst>
            <pc:docMk/>
            <pc:sldMasterMk cId="848279442" sldId="2147483698"/>
            <pc:sldLayoutMk cId="1652271460" sldId="2147483731"/>
          </pc:sldLayoutMkLst>
        </pc:sldLayoutChg>
        <pc:sldLayoutChg chg="del">
          <pc:chgData name="Danny P" userId="b214d6bb71249ca5" providerId="LiveId" clId="{0C340F2F-7155-40AB-A331-3FAF49351248}" dt="2023-11-15T09:56:33.027" v="84" actId="2696"/>
          <pc:sldLayoutMkLst>
            <pc:docMk/>
            <pc:sldMasterMk cId="848279442" sldId="2147483698"/>
            <pc:sldLayoutMk cId="1306970307" sldId="2147483732"/>
          </pc:sldLayoutMkLst>
        </pc:sldLayoutChg>
        <pc:sldLayoutChg chg="del">
          <pc:chgData name="Danny P" userId="b214d6bb71249ca5" providerId="LiveId" clId="{0C340F2F-7155-40AB-A331-3FAF49351248}" dt="2023-11-15T09:56:33.036" v="85" actId="2696"/>
          <pc:sldLayoutMkLst>
            <pc:docMk/>
            <pc:sldMasterMk cId="848279442" sldId="2147483698"/>
            <pc:sldLayoutMk cId="4039599746" sldId="2147483733"/>
          </pc:sldLayoutMkLst>
        </pc:sldLayoutChg>
        <pc:sldLayoutChg chg="del">
          <pc:chgData name="Danny P" userId="b214d6bb71249ca5" providerId="LiveId" clId="{0C340F2F-7155-40AB-A331-3FAF49351248}" dt="2023-11-15T09:56:33.041" v="86" actId="2696"/>
          <pc:sldLayoutMkLst>
            <pc:docMk/>
            <pc:sldMasterMk cId="848279442" sldId="2147483698"/>
            <pc:sldLayoutMk cId="2193020034" sldId="2147483734"/>
          </pc:sldLayoutMkLst>
        </pc:sldLayoutChg>
        <pc:sldLayoutChg chg="del">
          <pc:chgData name="Danny P" userId="b214d6bb71249ca5" providerId="LiveId" clId="{0C340F2F-7155-40AB-A331-3FAF49351248}" dt="2023-11-15T09:56:33.048" v="87" actId="2696"/>
          <pc:sldLayoutMkLst>
            <pc:docMk/>
            <pc:sldMasterMk cId="848279442" sldId="2147483698"/>
            <pc:sldLayoutMk cId="1313671390" sldId="2147483735"/>
          </pc:sldLayoutMkLst>
        </pc:sldLayoutChg>
        <pc:sldLayoutChg chg="del">
          <pc:chgData name="Danny P" userId="b214d6bb71249ca5" providerId="LiveId" clId="{0C340F2F-7155-40AB-A331-3FAF49351248}" dt="2023-11-15T09:56:33.056" v="88" actId="2696"/>
          <pc:sldLayoutMkLst>
            <pc:docMk/>
            <pc:sldMasterMk cId="848279442" sldId="2147483698"/>
            <pc:sldLayoutMk cId="1639703735" sldId="2147483736"/>
          </pc:sldLayoutMkLst>
        </pc:sldLayoutChg>
        <pc:sldLayoutChg chg="del">
          <pc:chgData name="Danny P" userId="b214d6bb71249ca5" providerId="LiveId" clId="{0C340F2F-7155-40AB-A331-3FAF49351248}" dt="2023-11-15T09:56:33.061" v="89" actId="2696"/>
          <pc:sldLayoutMkLst>
            <pc:docMk/>
            <pc:sldMasterMk cId="848279442" sldId="2147483698"/>
            <pc:sldLayoutMk cId="1135633253" sldId="2147483737"/>
          </pc:sldLayoutMkLst>
        </pc:sldLayoutChg>
        <pc:sldLayoutChg chg="del">
          <pc:chgData name="Danny P" userId="b214d6bb71249ca5" providerId="LiveId" clId="{0C340F2F-7155-40AB-A331-3FAF49351248}" dt="2023-11-15T09:56:33.070" v="90" actId="2696"/>
          <pc:sldLayoutMkLst>
            <pc:docMk/>
            <pc:sldMasterMk cId="848279442" sldId="2147483698"/>
            <pc:sldLayoutMk cId="3165049156" sldId="2147483738"/>
          </pc:sldLayoutMkLst>
        </pc:sldLayoutChg>
        <pc:sldLayoutChg chg="del">
          <pc:chgData name="Danny P" userId="b214d6bb71249ca5" providerId="LiveId" clId="{0C340F2F-7155-40AB-A331-3FAF49351248}" dt="2023-11-15T09:56:33.077" v="91" actId="2696"/>
          <pc:sldLayoutMkLst>
            <pc:docMk/>
            <pc:sldMasterMk cId="848279442" sldId="2147483698"/>
            <pc:sldLayoutMk cId="2330920072" sldId="2147483739"/>
          </pc:sldLayoutMkLst>
        </pc:sldLayoutChg>
        <pc:sldLayoutChg chg="del">
          <pc:chgData name="Danny P" userId="b214d6bb71249ca5" providerId="LiveId" clId="{0C340F2F-7155-40AB-A331-3FAF49351248}" dt="2023-11-15T09:56:33.082" v="92" actId="2696"/>
          <pc:sldLayoutMkLst>
            <pc:docMk/>
            <pc:sldMasterMk cId="848279442" sldId="2147483698"/>
            <pc:sldLayoutMk cId="1431116272" sldId="2147483740"/>
          </pc:sldLayoutMkLst>
        </pc:sldLayoutChg>
        <pc:sldLayoutChg chg="del">
          <pc:chgData name="Danny P" userId="b214d6bb71249ca5" providerId="LiveId" clId="{0C340F2F-7155-40AB-A331-3FAF49351248}" dt="2023-11-15T09:56:33.087" v="93" actId="2696"/>
          <pc:sldLayoutMkLst>
            <pc:docMk/>
            <pc:sldMasterMk cId="848279442" sldId="2147483698"/>
            <pc:sldLayoutMk cId="4208737661" sldId="2147483741"/>
          </pc:sldLayoutMkLst>
        </pc:sldLayoutChg>
        <pc:sldLayoutChg chg="del">
          <pc:chgData name="Danny P" userId="b214d6bb71249ca5" providerId="LiveId" clId="{0C340F2F-7155-40AB-A331-3FAF49351248}" dt="2023-11-15T09:56:33.091" v="94" actId="2696"/>
          <pc:sldLayoutMkLst>
            <pc:docMk/>
            <pc:sldMasterMk cId="848279442" sldId="2147483698"/>
            <pc:sldLayoutMk cId="981209610" sldId="2147483742"/>
          </pc:sldLayoutMkLst>
        </pc:sldLayoutChg>
        <pc:sldLayoutChg chg="del">
          <pc:chgData name="Danny P" userId="b214d6bb71249ca5" providerId="LiveId" clId="{0C340F2F-7155-40AB-A331-3FAF49351248}" dt="2023-11-15T09:56:33.097" v="95" actId="2696"/>
          <pc:sldLayoutMkLst>
            <pc:docMk/>
            <pc:sldMasterMk cId="848279442" sldId="2147483698"/>
            <pc:sldLayoutMk cId="371049530" sldId="2147483743"/>
          </pc:sldLayoutMkLst>
        </pc:sldLayoutChg>
        <pc:sldLayoutChg chg="del">
          <pc:chgData name="Danny P" userId="b214d6bb71249ca5" providerId="LiveId" clId="{0C340F2F-7155-40AB-A331-3FAF49351248}" dt="2023-11-15T09:56:33.101" v="96" actId="2696"/>
          <pc:sldLayoutMkLst>
            <pc:docMk/>
            <pc:sldMasterMk cId="848279442" sldId="2147483698"/>
            <pc:sldLayoutMk cId="2712670175" sldId="2147483744"/>
          </pc:sldLayoutMkLst>
        </pc:sldLayoutChg>
        <pc:sldLayoutChg chg="del">
          <pc:chgData name="Danny P" userId="b214d6bb71249ca5" providerId="LiveId" clId="{0C340F2F-7155-40AB-A331-3FAF49351248}" dt="2023-11-15T09:56:33.105" v="97" actId="2696"/>
          <pc:sldLayoutMkLst>
            <pc:docMk/>
            <pc:sldMasterMk cId="848279442" sldId="2147483698"/>
            <pc:sldLayoutMk cId="2563247187" sldId="2147483745"/>
          </pc:sldLayoutMkLst>
        </pc:sldLayoutChg>
        <pc:sldLayoutChg chg="del">
          <pc:chgData name="Danny P" userId="b214d6bb71249ca5" providerId="LiveId" clId="{0C340F2F-7155-40AB-A331-3FAF49351248}" dt="2023-11-15T09:56:33.109" v="98" actId="2696"/>
          <pc:sldLayoutMkLst>
            <pc:docMk/>
            <pc:sldMasterMk cId="848279442" sldId="2147483698"/>
            <pc:sldLayoutMk cId="1873195103" sldId="2147483746"/>
          </pc:sldLayoutMkLst>
        </pc:sldLayoutChg>
        <pc:sldLayoutChg chg="del">
          <pc:chgData name="Danny P" userId="b214d6bb71249ca5" providerId="LiveId" clId="{0C340F2F-7155-40AB-A331-3FAF49351248}" dt="2023-11-15T09:56:33.115" v="99" actId="2696"/>
          <pc:sldLayoutMkLst>
            <pc:docMk/>
            <pc:sldMasterMk cId="848279442" sldId="2147483698"/>
            <pc:sldLayoutMk cId="2878918136" sldId="2147483747"/>
          </pc:sldLayoutMkLst>
        </pc:sldLayoutChg>
        <pc:sldLayoutChg chg="del">
          <pc:chgData name="Danny P" userId="b214d6bb71249ca5" providerId="LiveId" clId="{0C340F2F-7155-40AB-A331-3FAF49351248}" dt="2023-11-15T09:56:33.119" v="100" actId="2696"/>
          <pc:sldLayoutMkLst>
            <pc:docMk/>
            <pc:sldMasterMk cId="848279442" sldId="2147483698"/>
            <pc:sldLayoutMk cId="691535002" sldId="2147483748"/>
          </pc:sldLayoutMkLst>
        </pc:sldLayoutChg>
        <pc:sldLayoutChg chg="del">
          <pc:chgData name="Danny P" userId="b214d6bb71249ca5" providerId="LiveId" clId="{0C340F2F-7155-40AB-A331-3FAF49351248}" dt="2023-11-15T09:56:33.123" v="101" actId="2696"/>
          <pc:sldLayoutMkLst>
            <pc:docMk/>
            <pc:sldMasterMk cId="848279442" sldId="2147483698"/>
            <pc:sldLayoutMk cId="3880409461" sldId="2147483749"/>
          </pc:sldLayoutMkLst>
        </pc:sldLayoutChg>
        <pc:sldLayoutChg chg="del">
          <pc:chgData name="Danny P" userId="b214d6bb71249ca5" providerId="LiveId" clId="{0C340F2F-7155-40AB-A331-3FAF49351248}" dt="2023-11-15T09:56:33.127" v="102" actId="2696"/>
          <pc:sldLayoutMkLst>
            <pc:docMk/>
            <pc:sldMasterMk cId="848279442" sldId="2147483698"/>
            <pc:sldLayoutMk cId="1110437272" sldId="2147483750"/>
          </pc:sldLayoutMkLst>
        </pc:sldLayoutChg>
        <pc:sldLayoutChg chg="del">
          <pc:chgData name="Danny P" userId="b214d6bb71249ca5" providerId="LiveId" clId="{0C340F2F-7155-40AB-A331-3FAF49351248}" dt="2023-11-15T09:56:33.135" v="103" actId="2696"/>
          <pc:sldLayoutMkLst>
            <pc:docMk/>
            <pc:sldMasterMk cId="848279442" sldId="2147483698"/>
            <pc:sldLayoutMk cId="1013956042" sldId="2147483751"/>
          </pc:sldLayoutMkLst>
        </pc:sldLayoutChg>
        <pc:sldLayoutChg chg="del">
          <pc:chgData name="Danny P" userId="b214d6bb71249ca5" providerId="LiveId" clId="{0C340F2F-7155-40AB-A331-3FAF49351248}" dt="2023-11-15T09:56:33.139" v="104" actId="2696"/>
          <pc:sldLayoutMkLst>
            <pc:docMk/>
            <pc:sldMasterMk cId="848279442" sldId="2147483698"/>
            <pc:sldLayoutMk cId="3090184877" sldId="2147483752"/>
          </pc:sldLayoutMkLst>
        </pc:sldLayoutChg>
        <pc:sldLayoutChg chg="del">
          <pc:chgData name="Danny P" userId="b214d6bb71249ca5" providerId="LiveId" clId="{0C340F2F-7155-40AB-A331-3FAF49351248}" dt="2023-11-15T09:56:33.143" v="105" actId="2696"/>
          <pc:sldLayoutMkLst>
            <pc:docMk/>
            <pc:sldMasterMk cId="848279442" sldId="2147483698"/>
            <pc:sldLayoutMk cId="2428403172" sldId="2147483753"/>
          </pc:sldLayoutMkLst>
        </pc:sldLayoutChg>
        <pc:sldLayoutChg chg="del">
          <pc:chgData name="Danny P" userId="b214d6bb71249ca5" providerId="LiveId" clId="{0C340F2F-7155-40AB-A331-3FAF49351248}" dt="2023-11-15T09:56:33.146" v="106" actId="2696"/>
          <pc:sldLayoutMkLst>
            <pc:docMk/>
            <pc:sldMasterMk cId="848279442" sldId="2147483698"/>
            <pc:sldLayoutMk cId="851473356" sldId="2147483754"/>
          </pc:sldLayoutMkLst>
        </pc:sldLayoutChg>
        <pc:sldLayoutChg chg="del">
          <pc:chgData name="Danny P" userId="b214d6bb71249ca5" providerId="LiveId" clId="{0C340F2F-7155-40AB-A331-3FAF49351248}" dt="2023-11-15T09:56:33.150" v="107" actId="2696"/>
          <pc:sldLayoutMkLst>
            <pc:docMk/>
            <pc:sldMasterMk cId="848279442" sldId="2147483698"/>
            <pc:sldLayoutMk cId="3652579863" sldId="2147483755"/>
          </pc:sldLayoutMkLst>
        </pc:sldLayoutChg>
        <pc:sldLayoutChg chg="del">
          <pc:chgData name="Danny P" userId="b214d6bb71249ca5" providerId="LiveId" clId="{0C340F2F-7155-40AB-A331-3FAF49351248}" dt="2023-11-15T09:56:33.153" v="108" actId="2696"/>
          <pc:sldLayoutMkLst>
            <pc:docMk/>
            <pc:sldMasterMk cId="848279442" sldId="2147483698"/>
            <pc:sldLayoutMk cId="3331207703" sldId="2147483756"/>
          </pc:sldLayoutMkLst>
        </pc:sldLayoutChg>
        <pc:sldLayoutChg chg="del">
          <pc:chgData name="Danny P" userId="b214d6bb71249ca5" providerId="LiveId" clId="{0C340F2F-7155-40AB-A331-3FAF49351248}" dt="2023-11-15T09:56:33.157" v="109" actId="2696"/>
          <pc:sldLayoutMkLst>
            <pc:docMk/>
            <pc:sldMasterMk cId="848279442" sldId="2147483698"/>
            <pc:sldLayoutMk cId="903041659" sldId="2147483757"/>
          </pc:sldLayoutMkLst>
        </pc:sldLayoutChg>
        <pc:sldLayoutChg chg="del">
          <pc:chgData name="Danny P" userId="b214d6bb71249ca5" providerId="LiveId" clId="{0C340F2F-7155-40AB-A331-3FAF49351248}" dt="2023-11-15T09:56:33.161" v="110" actId="2696"/>
          <pc:sldLayoutMkLst>
            <pc:docMk/>
            <pc:sldMasterMk cId="848279442" sldId="2147483698"/>
            <pc:sldLayoutMk cId="1084259154" sldId="2147483758"/>
          </pc:sldLayoutMkLst>
        </pc:sldLayoutChg>
      </pc:sldMasterChg>
      <pc:sldMasterChg chg="modSldLayout">
        <pc:chgData name="Danny P" userId="b214d6bb71249ca5" providerId="LiveId" clId="{0C340F2F-7155-40AB-A331-3FAF49351248}" dt="2023-11-15T09:54:04.996" v="34"/>
        <pc:sldMasterMkLst>
          <pc:docMk/>
          <pc:sldMasterMk cId="3372428160" sldId="2147483759"/>
        </pc:sldMasterMkLst>
        <pc:sldLayoutChg chg="delSp">
          <pc:chgData name="Danny P" userId="b214d6bb71249ca5" providerId="LiveId" clId="{0C340F2F-7155-40AB-A331-3FAF49351248}" dt="2023-11-15T09:54:04.996" v="34"/>
          <pc:sldLayoutMkLst>
            <pc:docMk/>
            <pc:sldMasterMk cId="3372428160" sldId="2147483759"/>
            <pc:sldLayoutMk cId="1504587322" sldId="2147483776"/>
          </pc:sldLayoutMkLst>
          <pc:spChg chg="del">
            <ac:chgData name="Danny P" userId="b214d6bb71249ca5" providerId="LiveId" clId="{0C340F2F-7155-40AB-A331-3FAF49351248}" dt="2023-11-15T09:54:04.996" v="34"/>
            <ac:spMkLst>
              <pc:docMk/>
              <pc:sldMasterMk cId="3372428160" sldId="2147483759"/>
              <pc:sldLayoutMk cId="1504587322" sldId="2147483776"/>
              <ac:spMk id="12" creationId="{9B9EAAC1-C98E-4447-86B7-6EEBF2007EEF}"/>
            </ac:spMkLst>
          </pc:spChg>
          <pc:spChg chg="del">
            <ac:chgData name="Danny P" userId="b214d6bb71249ca5" providerId="LiveId" clId="{0C340F2F-7155-40AB-A331-3FAF49351248}" dt="2023-11-15T09:54:04.996" v="34"/>
            <ac:spMkLst>
              <pc:docMk/>
              <pc:sldMasterMk cId="3372428160" sldId="2147483759"/>
              <pc:sldLayoutMk cId="1504587322" sldId="2147483776"/>
              <ac:spMk id="13" creationId="{DC0D10CA-FB66-4A39-A41A-93A108B6A8EF}"/>
            </ac:spMkLst>
          </pc:spChg>
          <pc:spChg chg="del">
            <ac:chgData name="Danny P" userId="b214d6bb71249ca5" providerId="LiveId" clId="{0C340F2F-7155-40AB-A331-3FAF49351248}" dt="2023-11-15T09:54:04.996" v="34"/>
            <ac:spMkLst>
              <pc:docMk/>
              <pc:sldMasterMk cId="3372428160" sldId="2147483759"/>
              <pc:sldLayoutMk cId="1504587322" sldId="2147483776"/>
              <ac:spMk id="15" creationId="{68816EC6-93D5-47E2-BFBB-1266E262173C}"/>
            </ac:spMkLst>
          </pc:spChg>
          <pc:spChg chg="del">
            <ac:chgData name="Danny P" userId="b214d6bb71249ca5" providerId="LiveId" clId="{0C340F2F-7155-40AB-A331-3FAF49351248}" dt="2023-11-15T09:54:04.996" v="34"/>
            <ac:spMkLst>
              <pc:docMk/>
              <pc:sldMasterMk cId="3372428160" sldId="2147483759"/>
              <pc:sldLayoutMk cId="1504587322" sldId="2147483776"/>
              <ac:spMk id="17" creationId="{0535A0DC-1CCA-4437-A0BB-59C8723D3BCF}"/>
            </ac:spMkLst>
          </pc:spChg>
          <pc:grpChg chg="del">
            <ac:chgData name="Danny P" userId="b214d6bb71249ca5" providerId="LiveId" clId="{0C340F2F-7155-40AB-A331-3FAF49351248}" dt="2023-11-15T09:54:04.996" v="34"/>
            <ac:grpSpMkLst>
              <pc:docMk/>
              <pc:sldMasterMk cId="3372428160" sldId="2147483759"/>
              <pc:sldLayoutMk cId="1504587322" sldId="2147483776"/>
              <ac:grpSpMk id="24" creationId="{8CED29BC-F1EE-4CD1-8091-75BF0E4781AE}"/>
            </ac:grpSpMkLst>
          </pc:grpChg>
          <pc:picChg chg="del">
            <ac:chgData name="Danny P" userId="b214d6bb71249ca5" providerId="LiveId" clId="{0C340F2F-7155-40AB-A331-3FAF49351248}" dt="2023-11-15T09:54:04.996" v="34"/>
            <ac:picMkLst>
              <pc:docMk/>
              <pc:sldMasterMk cId="3372428160" sldId="2147483759"/>
              <pc:sldLayoutMk cId="1504587322" sldId="2147483776"/>
              <ac:picMk id="22" creationId="{BA69BEAC-F8F8-4F16-8F58-B699EA9948D7}"/>
            </ac:picMkLst>
          </pc:picChg>
          <pc:picChg chg="del">
            <ac:chgData name="Danny P" userId="b214d6bb71249ca5" providerId="LiveId" clId="{0C340F2F-7155-40AB-A331-3FAF49351248}" dt="2023-11-15T09:54:04.996" v="34"/>
            <ac:picMkLst>
              <pc:docMk/>
              <pc:sldMasterMk cId="3372428160" sldId="2147483759"/>
              <pc:sldLayoutMk cId="1504587322" sldId="2147483776"/>
              <ac:picMk id="23" creationId="{083912BD-A055-4B47-B74B-160E9BEE6CD0}"/>
            </ac:picMkLst>
          </pc:picChg>
        </pc:sldLayoutChg>
        <pc:sldLayoutChg chg="delSp">
          <pc:chgData name="Danny P" userId="b214d6bb71249ca5" providerId="LiveId" clId="{0C340F2F-7155-40AB-A331-3FAF49351248}" dt="2023-11-15T09:54:04.996" v="34"/>
          <pc:sldLayoutMkLst>
            <pc:docMk/>
            <pc:sldMasterMk cId="3372428160" sldId="2147483759"/>
            <pc:sldLayoutMk cId="1973815352" sldId="2147483777"/>
          </pc:sldLayoutMkLst>
          <pc:spChg chg="del">
            <ac:chgData name="Danny P" userId="b214d6bb71249ca5" providerId="LiveId" clId="{0C340F2F-7155-40AB-A331-3FAF49351248}" dt="2023-11-15T09:54:04.996" v="34"/>
            <ac:spMkLst>
              <pc:docMk/>
              <pc:sldMasterMk cId="3372428160" sldId="2147483759"/>
              <pc:sldLayoutMk cId="1973815352" sldId="2147483777"/>
              <ac:spMk id="5" creationId="{51E36187-7243-486C-9CD3-DF904D865791}"/>
            </ac:spMkLst>
          </pc:spChg>
          <pc:spChg chg="del">
            <ac:chgData name="Danny P" userId="b214d6bb71249ca5" providerId="LiveId" clId="{0C340F2F-7155-40AB-A331-3FAF49351248}" dt="2023-11-15T09:54:04.996" v="34"/>
            <ac:spMkLst>
              <pc:docMk/>
              <pc:sldMasterMk cId="3372428160" sldId="2147483759"/>
              <pc:sldLayoutMk cId="1973815352" sldId="2147483777"/>
              <ac:spMk id="9" creationId="{00D25D8B-F447-4515-81FD-764F0DE29939}"/>
            </ac:spMkLst>
          </pc:spChg>
          <pc:spChg chg="del">
            <ac:chgData name="Danny P" userId="b214d6bb71249ca5" providerId="LiveId" clId="{0C340F2F-7155-40AB-A331-3FAF49351248}" dt="2023-11-15T09:54:04.996" v="34"/>
            <ac:spMkLst>
              <pc:docMk/>
              <pc:sldMasterMk cId="3372428160" sldId="2147483759"/>
              <pc:sldLayoutMk cId="1973815352" sldId="2147483777"/>
              <ac:spMk id="10" creationId="{D5C8478D-B3AE-4A84-BC4D-DAB1BDB8A00B}"/>
            </ac:spMkLst>
          </pc:spChg>
          <pc:spChg chg="del">
            <ac:chgData name="Danny P" userId="b214d6bb71249ca5" providerId="LiveId" clId="{0C340F2F-7155-40AB-A331-3FAF49351248}" dt="2023-11-15T09:54:04.996" v="34"/>
            <ac:spMkLst>
              <pc:docMk/>
              <pc:sldMasterMk cId="3372428160" sldId="2147483759"/>
              <pc:sldLayoutMk cId="1973815352" sldId="2147483777"/>
              <ac:spMk id="11" creationId="{E8DFA1A4-39DA-4A07-9B88-BDC4DE72C0F7}"/>
            </ac:spMkLst>
          </pc:spChg>
          <pc:spChg chg="del">
            <ac:chgData name="Danny P" userId="b214d6bb71249ca5" providerId="LiveId" clId="{0C340F2F-7155-40AB-A331-3FAF49351248}" dt="2023-11-15T09:54:04.996" v="34"/>
            <ac:spMkLst>
              <pc:docMk/>
              <pc:sldMasterMk cId="3372428160" sldId="2147483759"/>
              <pc:sldLayoutMk cId="1973815352" sldId="2147483777"/>
              <ac:spMk id="12" creationId="{87BC5251-20DC-4D06-8865-37D8244D096D}"/>
            </ac:spMkLst>
          </pc:spChg>
          <pc:spChg chg="del">
            <ac:chgData name="Danny P" userId="b214d6bb71249ca5" providerId="LiveId" clId="{0C340F2F-7155-40AB-A331-3FAF49351248}" dt="2023-11-15T09:54:04.996" v="34"/>
            <ac:spMkLst>
              <pc:docMk/>
              <pc:sldMasterMk cId="3372428160" sldId="2147483759"/>
              <pc:sldLayoutMk cId="1973815352" sldId="2147483777"/>
              <ac:spMk id="13" creationId="{AE7C8B8B-2307-47CA-9152-2CDFE1E18FD5}"/>
            </ac:spMkLst>
          </pc:spChg>
          <pc:spChg chg="del">
            <ac:chgData name="Danny P" userId="b214d6bb71249ca5" providerId="LiveId" clId="{0C340F2F-7155-40AB-A331-3FAF49351248}" dt="2023-11-15T09:54:04.996" v="34"/>
            <ac:spMkLst>
              <pc:docMk/>
              <pc:sldMasterMk cId="3372428160" sldId="2147483759"/>
              <pc:sldLayoutMk cId="1973815352" sldId="2147483777"/>
              <ac:spMk id="14" creationId="{442AEFDE-BCA4-44D7-8858-20C703A99B03}"/>
            </ac:spMkLst>
          </pc:spChg>
          <pc:spChg chg="del">
            <ac:chgData name="Danny P" userId="b214d6bb71249ca5" providerId="LiveId" clId="{0C340F2F-7155-40AB-A331-3FAF49351248}" dt="2023-11-15T09:54:04.996" v="34"/>
            <ac:spMkLst>
              <pc:docMk/>
              <pc:sldMasterMk cId="3372428160" sldId="2147483759"/>
              <pc:sldLayoutMk cId="1973815352" sldId="2147483777"/>
              <ac:spMk id="16" creationId="{6A3CE2A9-667A-4FB8-872F-BFCB9CFA7FA4}"/>
            </ac:spMkLst>
          </pc:spChg>
          <pc:spChg chg="del">
            <ac:chgData name="Danny P" userId="b214d6bb71249ca5" providerId="LiveId" clId="{0C340F2F-7155-40AB-A331-3FAF49351248}" dt="2023-11-15T09:54:04.996" v="34"/>
            <ac:spMkLst>
              <pc:docMk/>
              <pc:sldMasterMk cId="3372428160" sldId="2147483759"/>
              <pc:sldLayoutMk cId="1973815352" sldId="2147483777"/>
              <ac:spMk id="17" creationId="{990DAFCB-9988-4072-8FF8-467D6CCC0F28}"/>
            </ac:spMkLst>
          </pc:spChg>
          <pc:picChg chg="del">
            <ac:chgData name="Danny P" userId="b214d6bb71249ca5" providerId="LiveId" clId="{0C340F2F-7155-40AB-A331-3FAF49351248}" dt="2023-11-15T09:54:04.996" v="34"/>
            <ac:picMkLst>
              <pc:docMk/>
              <pc:sldMasterMk cId="3372428160" sldId="2147483759"/>
              <pc:sldLayoutMk cId="1973815352" sldId="2147483777"/>
              <ac:picMk id="18" creationId="{87A92BAF-EDC4-4487-AC73-D5DCDC312212}"/>
            </ac:picMkLst>
          </pc:picChg>
        </pc:sldLayoutChg>
        <pc:sldLayoutChg chg="delSp">
          <pc:chgData name="Danny P" userId="b214d6bb71249ca5" providerId="LiveId" clId="{0C340F2F-7155-40AB-A331-3FAF49351248}" dt="2023-11-15T09:54:04.996" v="34"/>
          <pc:sldLayoutMkLst>
            <pc:docMk/>
            <pc:sldMasterMk cId="3372428160" sldId="2147483759"/>
            <pc:sldLayoutMk cId="451796127" sldId="2147483778"/>
          </pc:sldLayoutMkLst>
          <pc:spChg chg="del">
            <ac:chgData name="Danny P" userId="b214d6bb71249ca5" providerId="LiveId" clId="{0C340F2F-7155-40AB-A331-3FAF49351248}" dt="2023-11-15T09:54:04.996" v="34"/>
            <ac:spMkLst>
              <pc:docMk/>
              <pc:sldMasterMk cId="3372428160" sldId="2147483759"/>
              <pc:sldLayoutMk cId="451796127" sldId="2147483778"/>
              <ac:spMk id="5" creationId="{00000000-0000-0000-0000-000000000000}"/>
            </ac:spMkLst>
          </pc:spChg>
          <pc:spChg chg="del">
            <ac:chgData name="Danny P" userId="b214d6bb71249ca5" providerId="LiveId" clId="{0C340F2F-7155-40AB-A331-3FAF49351248}" dt="2023-11-15T09:54:04.996" v="34"/>
            <ac:spMkLst>
              <pc:docMk/>
              <pc:sldMasterMk cId="3372428160" sldId="2147483759"/>
              <pc:sldLayoutMk cId="451796127" sldId="2147483778"/>
              <ac:spMk id="6" creationId="{00000000-0000-0000-0000-000000000000}"/>
            </ac:spMkLst>
          </pc:spChg>
          <pc:spChg chg="del">
            <ac:chgData name="Danny P" userId="b214d6bb71249ca5" providerId="LiveId" clId="{0C340F2F-7155-40AB-A331-3FAF49351248}" dt="2023-11-15T09:54:04.996" v="34"/>
            <ac:spMkLst>
              <pc:docMk/>
              <pc:sldMasterMk cId="3372428160" sldId="2147483759"/>
              <pc:sldLayoutMk cId="451796127" sldId="2147483778"/>
              <ac:spMk id="7" creationId="{00000000-0000-0000-0000-000000000000}"/>
            </ac:spMkLst>
          </pc:spChg>
          <pc:spChg chg="del">
            <ac:chgData name="Danny P" userId="b214d6bb71249ca5" providerId="LiveId" clId="{0C340F2F-7155-40AB-A331-3FAF49351248}" dt="2023-11-15T09:54:04.996" v="34"/>
            <ac:spMkLst>
              <pc:docMk/>
              <pc:sldMasterMk cId="3372428160" sldId="2147483759"/>
              <pc:sldLayoutMk cId="451796127" sldId="2147483778"/>
              <ac:spMk id="8" creationId="{CF9F90E9-5ABB-4F8F-B5B1-8BBCC3F989D9}"/>
            </ac:spMkLst>
          </pc:spChg>
          <pc:spChg chg="del">
            <ac:chgData name="Danny P" userId="b214d6bb71249ca5" providerId="LiveId" clId="{0C340F2F-7155-40AB-A331-3FAF49351248}" dt="2023-11-15T09:54:04.996" v="34"/>
            <ac:spMkLst>
              <pc:docMk/>
              <pc:sldMasterMk cId="3372428160" sldId="2147483759"/>
              <pc:sldLayoutMk cId="451796127" sldId="2147483778"/>
              <ac:spMk id="10" creationId="{723577A5-4168-4B98-969F-2EC36807DF6E}"/>
            </ac:spMkLst>
          </pc:spChg>
          <pc:picChg chg="del">
            <ac:chgData name="Danny P" userId="b214d6bb71249ca5" providerId="LiveId" clId="{0C340F2F-7155-40AB-A331-3FAF49351248}" dt="2023-11-15T09:54:04.996" v="34"/>
            <ac:picMkLst>
              <pc:docMk/>
              <pc:sldMasterMk cId="3372428160" sldId="2147483759"/>
              <pc:sldLayoutMk cId="451796127" sldId="2147483778"/>
              <ac:picMk id="11" creationId="{04ABE3E9-A654-40DB-B227-2992B8BA6BA8}"/>
            </ac:picMkLst>
          </pc:picChg>
        </pc:sldLayoutChg>
      </pc:sldMasterChg>
      <pc:sldMasterChg chg="addSp modSp mod modSldLayout">
        <pc:chgData name="Danny P" userId="b214d6bb71249ca5" providerId="LiveId" clId="{0C340F2F-7155-40AB-A331-3FAF49351248}" dt="2023-11-15T12:47:44.229" v="421" actId="14100"/>
        <pc:sldMasterMkLst>
          <pc:docMk/>
          <pc:sldMasterMk cId="2998375890" sldId="2147483779"/>
        </pc:sldMasterMkLst>
        <pc:spChg chg="mod">
          <ac:chgData name="Danny P" userId="b214d6bb71249ca5" providerId="LiveId" clId="{0C340F2F-7155-40AB-A331-3FAF49351248}" dt="2023-11-15T12:46:05.068" v="411" actId="14100"/>
          <ac:spMkLst>
            <pc:docMk/>
            <pc:sldMasterMk cId="2998375890" sldId="2147483779"/>
            <ac:spMk id="2" creationId="{00000000-0000-0000-0000-000000000000}"/>
          </ac:spMkLst>
        </pc:spChg>
        <pc:spChg chg="mod">
          <ac:chgData name="Danny P" userId="b214d6bb71249ca5" providerId="LiveId" clId="{0C340F2F-7155-40AB-A331-3FAF49351248}" dt="2023-11-15T12:46:18.339" v="413" actId="14100"/>
          <ac:spMkLst>
            <pc:docMk/>
            <pc:sldMasterMk cId="2998375890" sldId="2147483779"/>
            <ac:spMk id="3" creationId="{00000000-0000-0000-0000-000000000000}"/>
          </ac:spMkLst>
        </pc:spChg>
        <pc:spChg chg="add mod ord">
          <ac:chgData name="Danny P" userId="b214d6bb71249ca5" providerId="LiveId" clId="{0C340F2F-7155-40AB-A331-3FAF49351248}" dt="2023-11-15T12:46:25.956" v="417" actId="167"/>
          <ac:spMkLst>
            <pc:docMk/>
            <pc:sldMasterMk cId="2998375890" sldId="2147483779"/>
            <ac:spMk id="8" creationId="{E8E4D2B3-D3FE-CC58-F8C4-71D80031317C}"/>
          </ac:spMkLst>
        </pc:spChg>
        <pc:sldLayoutChg chg="addSp modSp mod">
          <pc:chgData name="Danny P" userId="b214d6bb71249ca5" providerId="LiveId" clId="{0C340F2F-7155-40AB-A331-3FAF49351248}" dt="2023-11-15T12:47:44.229" v="421" actId="14100"/>
          <pc:sldLayoutMkLst>
            <pc:docMk/>
            <pc:sldMasterMk cId="2998375890" sldId="2147483779"/>
            <pc:sldLayoutMk cId="3722823592" sldId="2147483781"/>
          </pc:sldLayoutMkLst>
          <pc:spChg chg="mod">
            <ac:chgData name="Danny P" userId="b214d6bb71249ca5" providerId="LiveId" clId="{0C340F2F-7155-40AB-A331-3FAF49351248}" dt="2023-11-15T12:47:26.026" v="418" actId="14100"/>
            <ac:spMkLst>
              <pc:docMk/>
              <pc:sldMasterMk cId="2998375890" sldId="2147483779"/>
              <pc:sldLayoutMk cId="3722823592" sldId="2147483781"/>
              <ac:spMk id="2" creationId="{00000000-0000-0000-0000-000000000000}"/>
            </ac:spMkLst>
          </pc:spChg>
          <pc:spChg chg="mod">
            <ac:chgData name="Danny P" userId="b214d6bb71249ca5" providerId="LiveId" clId="{0C340F2F-7155-40AB-A331-3FAF49351248}" dt="2023-11-15T12:47:44.229" v="421" actId="14100"/>
            <ac:spMkLst>
              <pc:docMk/>
              <pc:sldMasterMk cId="2998375890" sldId="2147483779"/>
              <pc:sldLayoutMk cId="3722823592" sldId="2147483781"/>
              <ac:spMk id="3" creationId="{00000000-0000-0000-0000-000000000000}"/>
            </ac:spMkLst>
          </pc:spChg>
          <pc:spChg chg="add mod ord">
            <ac:chgData name="Danny P" userId="b214d6bb71249ca5" providerId="LiveId" clId="{0C340F2F-7155-40AB-A331-3FAF49351248}" dt="2023-11-15T12:47:35.038" v="420" actId="167"/>
            <ac:spMkLst>
              <pc:docMk/>
              <pc:sldMasterMk cId="2998375890" sldId="2147483779"/>
              <pc:sldLayoutMk cId="3722823592" sldId="2147483781"/>
              <ac:spMk id="7" creationId="{5AE80D05-3F93-E60D-8C35-3DE684B06A57}"/>
            </ac:spMkLst>
          </pc:spChg>
        </pc:sldLayoutChg>
        <pc:sldLayoutChg chg="modSp">
          <pc:chgData name="Danny P" userId="b214d6bb71249ca5" providerId="LiveId" clId="{0C340F2F-7155-40AB-A331-3FAF49351248}" dt="2023-11-15T10:31:29.756" v="138" actId="207"/>
          <pc:sldLayoutMkLst>
            <pc:docMk/>
            <pc:sldMasterMk cId="2998375890" sldId="2147483779"/>
            <pc:sldLayoutMk cId="3052886895" sldId="2147483782"/>
          </pc:sldLayoutMkLst>
          <pc:spChg chg="mod">
            <ac:chgData name="Danny P" userId="b214d6bb71249ca5" providerId="LiveId" clId="{0C340F2F-7155-40AB-A331-3FAF49351248}" dt="2023-11-15T10:31:29.756" v="138" actId="207"/>
            <ac:spMkLst>
              <pc:docMk/>
              <pc:sldMasterMk cId="2998375890" sldId="2147483779"/>
              <pc:sldLayoutMk cId="3052886895" sldId="2147483782"/>
              <ac:spMk id="2" creationId="{00000000-0000-0000-0000-000000000000}"/>
            </ac:spMkLst>
          </pc:spChg>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Data\Onedrive\Documents\Axtalis\Dat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Data\Onedrive\Documents\Axtalis\Data.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D:\Data\Onedrive\Documents\Axtalis\Data.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Data\Onedrive\Documents\Axtalis\Data.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l-BE" dirty="0"/>
              <a:t>Verkoo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Charts individueel'!$D$4</c:f>
              <c:strCache>
                <c:ptCount val="1"/>
                <c:pt idx="0">
                  <c:v>2018</c:v>
                </c:pt>
              </c:strCache>
            </c:strRef>
          </c:tx>
          <c:spPr>
            <a:solidFill>
              <a:schemeClr val="accent1"/>
            </a:solidFill>
            <a:ln>
              <a:noFill/>
            </a:ln>
            <a:effectLst/>
          </c:spPr>
          <c:invertIfNegative val="0"/>
          <c:cat>
            <c:strRef>
              <c:f>'Charts individueel'!$C$5:$C$8</c:f>
              <c:strCache>
                <c:ptCount val="4"/>
                <c:pt idx="0">
                  <c:v>Gent</c:v>
                </c:pt>
                <c:pt idx="1">
                  <c:v>Brussel</c:v>
                </c:pt>
                <c:pt idx="2">
                  <c:v>Antwerpen</c:v>
                </c:pt>
                <c:pt idx="3">
                  <c:v>Oostende</c:v>
                </c:pt>
              </c:strCache>
            </c:strRef>
          </c:cat>
          <c:val>
            <c:numRef>
              <c:f>'Charts individueel'!$D$5:$D$8</c:f>
              <c:numCache>
                <c:formatCode>General</c:formatCode>
                <c:ptCount val="4"/>
                <c:pt idx="0">
                  <c:v>250</c:v>
                </c:pt>
                <c:pt idx="1">
                  <c:v>300</c:v>
                </c:pt>
                <c:pt idx="2">
                  <c:v>350</c:v>
                </c:pt>
                <c:pt idx="3">
                  <c:v>56</c:v>
                </c:pt>
              </c:numCache>
            </c:numRef>
          </c:val>
          <c:extLst>
            <c:ext xmlns:c16="http://schemas.microsoft.com/office/drawing/2014/chart" uri="{C3380CC4-5D6E-409C-BE32-E72D297353CC}">
              <c16:uniqueId val="{00000000-FDF0-4101-A39A-987091B2249A}"/>
            </c:ext>
          </c:extLst>
        </c:ser>
        <c:ser>
          <c:idx val="1"/>
          <c:order val="1"/>
          <c:tx>
            <c:strRef>
              <c:f>'Charts individueel'!$E$4</c:f>
              <c:strCache>
                <c:ptCount val="1"/>
                <c:pt idx="0">
                  <c:v>2019</c:v>
                </c:pt>
              </c:strCache>
            </c:strRef>
          </c:tx>
          <c:spPr>
            <a:solidFill>
              <a:schemeClr val="accent2"/>
            </a:solidFill>
            <a:ln>
              <a:noFill/>
            </a:ln>
            <a:effectLst/>
          </c:spPr>
          <c:invertIfNegative val="0"/>
          <c:cat>
            <c:strRef>
              <c:f>'Charts individueel'!$C$5:$C$8</c:f>
              <c:strCache>
                <c:ptCount val="4"/>
                <c:pt idx="0">
                  <c:v>Gent</c:v>
                </c:pt>
                <c:pt idx="1">
                  <c:v>Brussel</c:v>
                </c:pt>
                <c:pt idx="2">
                  <c:v>Antwerpen</c:v>
                </c:pt>
                <c:pt idx="3">
                  <c:v>Oostende</c:v>
                </c:pt>
              </c:strCache>
            </c:strRef>
          </c:cat>
          <c:val>
            <c:numRef>
              <c:f>'Charts individueel'!$E$5:$E$8</c:f>
              <c:numCache>
                <c:formatCode>General</c:formatCode>
                <c:ptCount val="4"/>
                <c:pt idx="0">
                  <c:v>265</c:v>
                </c:pt>
                <c:pt idx="1">
                  <c:v>500</c:v>
                </c:pt>
                <c:pt idx="2">
                  <c:v>400</c:v>
                </c:pt>
                <c:pt idx="3">
                  <c:v>68</c:v>
                </c:pt>
              </c:numCache>
            </c:numRef>
          </c:val>
          <c:extLst>
            <c:ext xmlns:c16="http://schemas.microsoft.com/office/drawing/2014/chart" uri="{C3380CC4-5D6E-409C-BE32-E72D297353CC}">
              <c16:uniqueId val="{00000001-FDF0-4101-A39A-987091B2249A}"/>
            </c:ext>
          </c:extLst>
        </c:ser>
        <c:ser>
          <c:idx val="2"/>
          <c:order val="2"/>
          <c:tx>
            <c:strRef>
              <c:f>'Charts individueel'!$F$4</c:f>
              <c:strCache>
                <c:ptCount val="1"/>
                <c:pt idx="0">
                  <c:v>2020</c:v>
                </c:pt>
              </c:strCache>
            </c:strRef>
          </c:tx>
          <c:spPr>
            <a:solidFill>
              <a:schemeClr val="accent3"/>
            </a:solidFill>
            <a:ln>
              <a:noFill/>
            </a:ln>
            <a:effectLst/>
          </c:spPr>
          <c:invertIfNegative val="0"/>
          <c:cat>
            <c:strRef>
              <c:f>'Charts individueel'!$C$5:$C$8</c:f>
              <c:strCache>
                <c:ptCount val="4"/>
                <c:pt idx="0">
                  <c:v>Gent</c:v>
                </c:pt>
                <c:pt idx="1">
                  <c:v>Brussel</c:v>
                </c:pt>
                <c:pt idx="2">
                  <c:v>Antwerpen</c:v>
                </c:pt>
                <c:pt idx="3">
                  <c:v>Oostende</c:v>
                </c:pt>
              </c:strCache>
            </c:strRef>
          </c:cat>
          <c:val>
            <c:numRef>
              <c:f>'Charts individueel'!$F$5:$F$8</c:f>
              <c:numCache>
                <c:formatCode>General</c:formatCode>
                <c:ptCount val="4"/>
                <c:pt idx="0">
                  <c:v>286</c:v>
                </c:pt>
                <c:pt idx="1">
                  <c:v>250</c:v>
                </c:pt>
                <c:pt idx="2">
                  <c:v>359</c:v>
                </c:pt>
                <c:pt idx="3">
                  <c:v>98</c:v>
                </c:pt>
              </c:numCache>
            </c:numRef>
          </c:val>
          <c:extLst>
            <c:ext xmlns:c16="http://schemas.microsoft.com/office/drawing/2014/chart" uri="{C3380CC4-5D6E-409C-BE32-E72D297353CC}">
              <c16:uniqueId val="{00000002-FDF0-4101-A39A-987091B2249A}"/>
            </c:ext>
          </c:extLst>
        </c:ser>
        <c:ser>
          <c:idx val="3"/>
          <c:order val="3"/>
          <c:tx>
            <c:strRef>
              <c:f>'Charts individueel'!$G$4</c:f>
              <c:strCache>
                <c:ptCount val="1"/>
                <c:pt idx="0">
                  <c:v>2021</c:v>
                </c:pt>
              </c:strCache>
            </c:strRef>
          </c:tx>
          <c:spPr>
            <a:solidFill>
              <a:schemeClr val="accent4"/>
            </a:solidFill>
            <a:ln>
              <a:noFill/>
            </a:ln>
            <a:effectLst/>
          </c:spPr>
          <c:invertIfNegative val="0"/>
          <c:cat>
            <c:strRef>
              <c:f>'Charts individueel'!$C$5:$C$8</c:f>
              <c:strCache>
                <c:ptCount val="4"/>
                <c:pt idx="0">
                  <c:v>Gent</c:v>
                </c:pt>
                <c:pt idx="1">
                  <c:v>Brussel</c:v>
                </c:pt>
                <c:pt idx="2">
                  <c:v>Antwerpen</c:v>
                </c:pt>
                <c:pt idx="3">
                  <c:v>Oostende</c:v>
                </c:pt>
              </c:strCache>
            </c:strRef>
          </c:cat>
          <c:val>
            <c:numRef>
              <c:f>'Charts individueel'!$G$5:$G$8</c:f>
              <c:numCache>
                <c:formatCode>0</c:formatCode>
                <c:ptCount val="4"/>
                <c:pt idx="0" formatCode="General">
                  <c:v>303</c:v>
                </c:pt>
                <c:pt idx="1">
                  <c:v>229.22018348623851</c:v>
                </c:pt>
                <c:pt idx="2">
                  <c:v>320</c:v>
                </c:pt>
                <c:pt idx="3">
                  <c:v>72.752368908817317</c:v>
                </c:pt>
              </c:numCache>
            </c:numRef>
          </c:val>
          <c:extLst>
            <c:ext xmlns:c16="http://schemas.microsoft.com/office/drawing/2014/chart" uri="{C3380CC4-5D6E-409C-BE32-E72D297353CC}">
              <c16:uniqueId val="{00000003-FDF0-4101-A39A-987091B2249A}"/>
            </c:ext>
          </c:extLst>
        </c:ser>
        <c:dLbls>
          <c:showLegendKey val="0"/>
          <c:showVal val="0"/>
          <c:showCatName val="0"/>
          <c:showSerName val="0"/>
          <c:showPercent val="0"/>
          <c:showBubbleSize val="0"/>
        </c:dLbls>
        <c:gapWidth val="219"/>
        <c:overlap val="100"/>
        <c:axId val="503992456"/>
        <c:axId val="503994096"/>
      </c:barChart>
      <c:catAx>
        <c:axId val="503992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03994096"/>
        <c:crosses val="autoZero"/>
        <c:auto val="1"/>
        <c:lblAlgn val="ctr"/>
        <c:lblOffset val="100"/>
        <c:noMultiLvlLbl val="0"/>
      </c:catAx>
      <c:valAx>
        <c:axId val="5039940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50399245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l-BE"/>
              <a:t>Verkoo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2862662137385615E-2"/>
          <c:y val="0.12362600027907712"/>
          <c:w val="0.83741643964123025"/>
          <c:h val="0.67961493426520814"/>
        </c:manualLayout>
      </c:layout>
      <c:barChart>
        <c:barDir val="bar"/>
        <c:grouping val="clustered"/>
        <c:varyColors val="0"/>
        <c:ser>
          <c:idx val="0"/>
          <c:order val="0"/>
          <c:tx>
            <c:strRef>
              <c:f>'Charts individueel'!$C$5</c:f>
              <c:strCache>
                <c:ptCount val="1"/>
                <c:pt idx="0">
                  <c:v>Gent</c:v>
                </c:pt>
              </c:strCache>
            </c:strRef>
          </c:tx>
          <c:spPr>
            <a:solidFill>
              <a:schemeClr val="accent1"/>
            </a:solidFill>
            <a:ln>
              <a:noFill/>
            </a:ln>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5:$G$5</c:f>
              <c:numCache>
                <c:formatCode>General</c:formatCode>
                <c:ptCount val="4"/>
                <c:pt idx="0">
                  <c:v>250</c:v>
                </c:pt>
                <c:pt idx="1">
                  <c:v>265</c:v>
                </c:pt>
                <c:pt idx="2">
                  <c:v>286</c:v>
                </c:pt>
                <c:pt idx="3" formatCode="0">
                  <c:v>303</c:v>
                </c:pt>
              </c:numCache>
            </c:numRef>
          </c:val>
          <c:extLst>
            <c:ext xmlns:c16="http://schemas.microsoft.com/office/drawing/2014/chart" uri="{C3380CC4-5D6E-409C-BE32-E72D297353CC}">
              <c16:uniqueId val="{00000000-A376-47B4-B6E2-C07E5CEFBA8F}"/>
            </c:ext>
          </c:extLst>
        </c:ser>
        <c:ser>
          <c:idx val="1"/>
          <c:order val="1"/>
          <c:tx>
            <c:strRef>
              <c:f>'Charts individueel'!$C$6</c:f>
              <c:strCache>
                <c:ptCount val="1"/>
                <c:pt idx="0">
                  <c:v>Brussel</c:v>
                </c:pt>
              </c:strCache>
            </c:strRef>
          </c:tx>
          <c:spPr>
            <a:solidFill>
              <a:schemeClr val="accent2"/>
            </a:solidFill>
            <a:ln>
              <a:noFill/>
            </a:ln>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6:$G$6</c:f>
              <c:numCache>
                <c:formatCode>General</c:formatCode>
                <c:ptCount val="4"/>
                <c:pt idx="0">
                  <c:v>300</c:v>
                </c:pt>
                <c:pt idx="1">
                  <c:v>500</c:v>
                </c:pt>
                <c:pt idx="2">
                  <c:v>250</c:v>
                </c:pt>
                <c:pt idx="3" formatCode="0">
                  <c:v>229.22018348623851</c:v>
                </c:pt>
              </c:numCache>
            </c:numRef>
          </c:val>
          <c:extLst>
            <c:ext xmlns:c16="http://schemas.microsoft.com/office/drawing/2014/chart" uri="{C3380CC4-5D6E-409C-BE32-E72D297353CC}">
              <c16:uniqueId val="{00000001-A376-47B4-B6E2-C07E5CEFBA8F}"/>
            </c:ext>
          </c:extLst>
        </c:ser>
        <c:ser>
          <c:idx val="2"/>
          <c:order val="2"/>
          <c:tx>
            <c:strRef>
              <c:f>'Charts individueel'!$C$7</c:f>
              <c:strCache>
                <c:ptCount val="1"/>
                <c:pt idx="0">
                  <c:v>Antwerpen</c:v>
                </c:pt>
              </c:strCache>
            </c:strRef>
          </c:tx>
          <c:spPr>
            <a:solidFill>
              <a:schemeClr val="accent3"/>
            </a:solidFill>
            <a:ln>
              <a:noFill/>
            </a:ln>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7:$G$7</c:f>
              <c:numCache>
                <c:formatCode>General</c:formatCode>
                <c:ptCount val="4"/>
                <c:pt idx="0">
                  <c:v>350</c:v>
                </c:pt>
                <c:pt idx="1">
                  <c:v>400</c:v>
                </c:pt>
                <c:pt idx="2">
                  <c:v>359</c:v>
                </c:pt>
                <c:pt idx="3" formatCode="0">
                  <c:v>320</c:v>
                </c:pt>
              </c:numCache>
            </c:numRef>
          </c:val>
          <c:extLst>
            <c:ext xmlns:c16="http://schemas.microsoft.com/office/drawing/2014/chart" uri="{C3380CC4-5D6E-409C-BE32-E72D297353CC}">
              <c16:uniqueId val="{00000002-A376-47B4-B6E2-C07E5CEFBA8F}"/>
            </c:ext>
          </c:extLst>
        </c:ser>
        <c:ser>
          <c:idx val="3"/>
          <c:order val="3"/>
          <c:tx>
            <c:strRef>
              <c:f>'Charts individueel'!$C$8</c:f>
              <c:strCache>
                <c:ptCount val="1"/>
                <c:pt idx="0">
                  <c:v>Oostende</c:v>
                </c:pt>
              </c:strCache>
            </c:strRef>
          </c:tx>
          <c:spPr>
            <a:solidFill>
              <a:schemeClr val="accent4"/>
            </a:solidFill>
            <a:ln>
              <a:noFill/>
            </a:ln>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8:$G$8</c:f>
              <c:numCache>
                <c:formatCode>General</c:formatCode>
                <c:ptCount val="4"/>
                <c:pt idx="0">
                  <c:v>56</c:v>
                </c:pt>
                <c:pt idx="1">
                  <c:v>68</c:v>
                </c:pt>
                <c:pt idx="2">
                  <c:v>98</c:v>
                </c:pt>
                <c:pt idx="3" formatCode="0">
                  <c:v>450</c:v>
                </c:pt>
              </c:numCache>
            </c:numRef>
          </c:val>
          <c:extLst>
            <c:ext xmlns:c16="http://schemas.microsoft.com/office/drawing/2014/chart" uri="{C3380CC4-5D6E-409C-BE32-E72D297353CC}">
              <c16:uniqueId val="{00000003-A376-47B4-B6E2-C07E5CEFBA8F}"/>
            </c:ext>
          </c:extLst>
        </c:ser>
        <c:dLbls>
          <c:showLegendKey val="0"/>
          <c:showVal val="0"/>
          <c:showCatName val="0"/>
          <c:showSerName val="0"/>
          <c:showPercent val="0"/>
          <c:showBubbleSize val="0"/>
        </c:dLbls>
        <c:gapWidth val="196"/>
        <c:axId val="503992456"/>
        <c:axId val="503994096"/>
      </c:barChart>
      <c:catAx>
        <c:axId val="503992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3994096"/>
        <c:crosses val="autoZero"/>
        <c:auto val="1"/>
        <c:lblAlgn val="ctr"/>
        <c:lblOffset val="100"/>
        <c:noMultiLvlLbl val="0"/>
      </c:catAx>
      <c:valAx>
        <c:axId val="5039940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3992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2567646244399794"/>
          <c:y val="0.23405448717948718"/>
          <c:w val="0.82834734420595979"/>
          <c:h val="0.65596271465757372"/>
        </c:manualLayout>
      </c:layout>
      <c:barChart>
        <c:barDir val="bar"/>
        <c:grouping val="clustered"/>
        <c:varyColors val="0"/>
        <c:ser>
          <c:idx val="0"/>
          <c:order val="0"/>
          <c:tx>
            <c:strRef>
              <c:f>'Charts individueel'!$C$5</c:f>
              <c:strCache>
                <c:ptCount val="1"/>
                <c:pt idx="0">
                  <c:v>Gent</c:v>
                </c:pt>
              </c:strCache>
            </c:strRef>
          </c:tx>
          <c:spPr>
            <a:solidFill>
              <a:schemeClr val="accent3">
                <a:shade val="58000"/>
              </a:schemeClr>
            </a:solidFill>
            <a:ln>
              <a:noFill/>
            </a:ln>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5:$G$5</c:f>
              <c:numCache>
                <c:formatCode>General</c:formatCode>
                <c:ptCount val="4"/>
                <c:pt idx="0">
                  <c:v>250</c:v>
                </c:pt>
                <c:pt idx="1">
                  <c:v>265</c:v>
                </c:pt>
                <c:pt idx="2">
                  <c:v>286</c:v>
                </c:pt>
                <c:pt idx="3" formatCode="0">
                  <c:v>303</c:v>
                </c:pt>
              </c:numCache>
            </c:numRef>
          </c:val>
          <c:extLst>
            <c:ext xmlns:c16="http://schemas.microsoft.com/office/drawing/2014/chart" uri="{C3380CC4-5D6E-409C-BE32-E72D297353CC}">
              <c16:uniqueId val="{00000000-A376-47B4-B6E2-C07E5CEFBA8F}"/>
            </c:ext>
          </c:extLst>
        </c:ser>
        <c:ser>
          <c:idx val="1"/>
          <c:order val="1"/>
          <c:tx>
            <c:strRef>
              <c:f>'Charts individueel'!$C$6</c:f>
              <c:strCache>
                <c:ptCount val="1"/>
                <c:pt idx="0">
                  <c:v>Brussel</c:v>
                </c:pt>
              </c:strCache>
            </c:strRef>
          </c:tx>
          <c:spPr>
            <a:solidFill>
              <a:schemeClr val="accent3">
                <a:shade val="86000"/>
              </a:schemeClr>
            </a:solidFill>
            <a:ln>
              <a:noFill/>
            </a:ln>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6:$G$6</c:f>
              <c:numCache>
                <c:formatCode>General</c:formatCode>
                <c:ptCount val="4"/>
                <c:pt idx="0">
                  <c:v>300</c:v>
                </c:pt>
                <c:pt idx="1">
                  <c:v>500</c:v>
                </c:pt>
                <c:pt idx="2">
                  <c:v>250</c:v>
                </c:pt>
                <c:pt idx="3" formatCode="0">
                  <c:v>229.22018348623851</c:v>
                </c:pt>
              </c:numCache>
            </c:numRef>
          </c:val>
          <c:extLst>
            <c:ext xmlns:c16="http://schemas.microsoft.com/office/drawing/2014/chart" uri="{C3380CC4-5D6E-409C-BE32-E72D297353CC}">
              <c16:uniqueId val="{00000001-A376-47B4-B6E2-C07E5CEFBA8F}"/>
            </c:ext>
          </c:extLst>
        </c:ser>
        <c:ser>
          <c:idx val="3"/>
          <c:order val="3"/>
          <c:tx>
            <c:strRef>
              <c:f>'Charts individueel'!$C$8</c:f>
              <c:strCache>
                <c:ptCount val="1"/>
                <c:pt idx="0">
                  <c:v>Oostende</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1">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arts individueel'!$D$4:$G$4</c:f>
              <c:numCache>
                <c:formatCode>General</c:formatCode>
                <c:ptCount val="4"/>
                <c:pt idx="0">
                  <c:v>2018</c:v>
                </c:pt>
                <c:pt idx="1">
                  <c:v>2019</c:v>
                </c:pt>
                <c:pt idx="2">
                  <c:v>2020</c:v>
                </c:pt>
                <c:pt idx="3">
                  <c:v>2021</c:v>
                </c:pt>
              </c:numCache>
            </c:numRef>
          </c:cat>
          <c:val>
            <c:numRef>
              <c:f>'Charts individueel'!$D$8:$G$8</c:f>
              <c:numCache>
                <c:formatCode>General</c:formatCode>
                <c:ptCount val="4"/>
                <c:pt idx="0">
                  <c:v>56</c:v>
                </c:pt>
                <c:pt idx="1">
                  <c:v>68</c:v>
                </c:pt>
                <c:pt idx="2">
                  <c:v>98</c:v>
                </c:pt>
                <c:pt idx="3" formatCode="0">
                  <c:v>450</c:v>
                </c:pt>
              </c:numCache>
            </c:numRef>
          </c:val>
          <c:extLst>
            <c:ext xmlns:c16="http://schemas.microsoft.com/office/drawing/2014/chart" uri="{C3380CC4-5D6E-409C-BE32-E72D297353CC}">
              <c16:uniqueId val="{00000003-A376-47B4-B6E2-C07E5CEFBA8F}"/>
            </c:ext>
          </c:extLst>
        </c:ser>
        <c:dLbls>
          <c:showLegendKey val="0"/>
          <c:showVal val="0"/>
          <c:showCatName val="0"/>
          <c:showSerName val="0"/>
          <c:showPercent val="0"/>
          <c:showBubbleSize val="0"/>
        </c:dLbls>
        <c:gapWidth val="98"/>
        <c:axId val="503992456"/>
        <c:axId val="503994096"/>
        <c:extLst>
          <c:ext xmlns:c15="http://schemas.microsoft.com/office/drawing/2012/chart" uri="{02D57815-91ED-43cb-92C2-25804820EDAC}">
            <c15:filteredBarSeries>
              <c15:ser>
                <c:idx val="2"/>
                <c:order val="2"/>
                <c:tx>
                  <c:strRef>
                    <c:extLst>
                      <c:ext uri="{02D57815-91ED-43cb-92C2-25804820EDAC}">
                        <c15:formulaRef>
                          <c15:sqref>'Charts individueel'!$C$7</c15:sqref>
                        </c15:formulaRef>
                      </c:ext>
                    </c:extLst>
                    <c:strCache>
                      <c:ptCount val="1"/>
                      <c:pt idx="0">
                        <c:v>Antwerpen</c:v>
                      </c:pt>
                    </c:strCache>
                  </c:strRef>
                </c:tx>
                <c:spPr>
                  <a:solidFill>
                    <a:schemeClr val="accent3">
                      <a:tint val="86000"/>
                    </a:schemeClr>
                  </a:solidFill>
                  <a:ln>
                    <a:noFill/>
                  </a:ln>
                  <a:effectLst/>
                </c:spPr>
                <c:invertIfNegative val="0"/>
                <c:cat>
                  <c:numRef>
                    <c:extLst>
                      <c:ext uri="{02D57815-91ED-43cb-92C2-25804820EDAC}">
                        <c15:formulaRef>
                          <c15:sqref>'Charts individueel'!$D$4:$G$4</c15:sqref>
                        </c15:formulaRef>
                      </c:ext>
                    </c:extLst>
                    <c:numCache>
                      <c:formatCode>General</c:formatCode>
                      <c:ptCount val="4"/>
                      <c:pt idx="0">
                        <c:v>2018</c:v>
                      </c:pt>
                      <c:pt idx="1">
                        <c:v>2019</c:v>
                      </c:pt>
                      <c:pt idx="2">
                        <c:v>2020</c:v>
                      </c:pt>
                      <c:pt idx="3">
                        <c:v>2021</c:v>
                      </c:pt>
                    </c:numCache>
                  </c:numRef>
                </c:cat>
                <c:val>
                  <c:numRef>
                    <c:extLst>
                      <c:ext uri="{02D57815-91ED-43cb-92C2-25804820EDAC}">
                        <c15:formulaRef>
                          <c15:sqref>'Charts individueel'!$D$7:$G$7</c15:sqref>
                        </c15:formulaRef>
                      </c:ext>
                    </c:extLst>
                    <c:numCache>
                      <c:formatCode>General</c:formatCode>
                      <c:ptCount val="4"/>
                      <c:pt idx="0">
                        <c:v>350</c:v>
                      </c:pt>
                      <c:pt idx="1">
                        <c:v>400</c:v>
                      </c:pt>
                      <c:pt idx="2">
                        <c:v>359</c:v>
                      </c:pt>
                      <c:pt idx="3" formatCode="0">
                        <c:v>320</c:v>
                      </c:pt>
                    </c:numCache>
                  </c:numRef>
                </c:val>
                <c:extLst>
                  <c:ext xmlns:c16="http://schemas.microsoft.com/office/drawing/2014/chart" uri="{C3380CC4-5D6E-409C-BE32-E72D297353CC}">
                    <c16:uniqueId val="{00000002-A376-47B4-B6E2-C07E5CEFBA8F}"/>
                  </c:ext>
                </c:extLst>
              </c15:ser>
            </c15:filteredBarSeries>
          </c:ext>
        </c:extLst>
      </c:barChart>
      <c:catAx>
        <c:axId val="503992456"/>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bg1">
                    <a:lumMod val="65000"/>
                  </a:schemeClr>
                </a:solidFill>
                <a:latin typeface="+mn-lt"/>
                <a:ea typeface="+mn-ea"/>
                <a:cs typeface="+mn-cs"/>
              </a:defRPr>
            </a:pPr>
            <a:endParaRPr lang="en-US"/>
          </a:p>
        </c:txPr>
        <c:crossAx val="503994096"/>
        <c:crosses val="autoZero"/>
        <c:auto val="1"/>
        <c:lblAlgn val="ctr"/>
        <c:lblOffset val="100"/>
        <c:noMultiLvlLbl val="0"/>
      </c:catAx>
      <c:valAx>
        <c:axId val="503994096"/>
        <c:scaling>
          <c:orientation val="minMax"/>
          <c:max val="500"/>
        </c:scaling>
        <c:delete val="0"/>
        <c:axPos val="b"/>
        <c:majorGridlines>
          <c:spPr>
            <a:ln w="9525" cap="flat" cmpd="sng" algn="ctr">
              <a:solidFill>
                <a:schemeClr val="tx1">
                  <a:lumMod val="15000"/>
                  <a:lumOff val="85000"/>
                </a:schemeClr>
              </a:solidFill>
              <a:prstDash val="dash"/>
              <a:round/>
            </a:ln>
            <a:effectLst/>
          </c:spPr>
        </c:majorGridlines>
        <c:title>
          <c:tx>
            <c:rich>
              <a:bodyPr rot="0" spcFirstLastPara="1" vertOverflow="ellipsis" vert="horz" wrap="square" anchor="ctr" anchorCtr="1"/>
              <a:lstStyle/>
              <a:p>
                <a:pPr algn="ctr">
                  <a:defRPr lang="nl-BE" sz="1200" b="0" i="0" u="none" strike="noStrike" kern="1200" baseline="0" dirty="0" err="1" smtClean="0">
                    <a:solidFill>
                      <a:schemeClr val="bg1">
                        <a:lumMod val="65000"/>
                      </a:schemeClr>
                    </a:solidFill>
                    <a:latin typeface="+mn-lt"/>
                    <a:ea typeface="+mn-ea"/>
                    <a:cs typeface="+mn-cs"/>
                  </a:defRPr>
                </a:pPr>
                <a:r>
                  <a:rPr lang="nl-BE" sz="1200" b="0" i="0" u="none" strike="noStrike" kern="1200" baseline="0" dirty="0" err="1">
                    <a:solidFill>
                      <a:schemeClr val="bg1">
                        <a:lumMod val="65000"/>
                      </a:schemeClr>
                    </a:solidFill>
                    <a:latin typeface="+mn-lt"/>
                    <a:ea typeface="+mn-ea"/>
                    <a:cs typeface="+mn-cs"/>
                  </a:rPr>
                  <a:t>Thousands</a:t>
                </a:r>
              </a:p>
            </c:rich>
          </c:tx>
          <c:layout>
            <c:manualLayout>
              <c:xMode val="edge"/>
              <c:yMode val="edge"/>
              <c:x val="0.84601559892930445"/>
              <c:y val="0.94791438744236567"/>
            </c:manualLayout>
          </c:layout>
          <c:overlay val="0"/>
          <c:spPr>
            <a:noFill/>
            <a:ln>
              <a:noFill/>
            </a:ln>
            <a:effectLst/>
          </c:spPr>
          <c:txPr>
            <a:bodyPr rot="0" spcFirstLastPara="1" vertOverflow="ellipsis" vert="horz" wrap="square" anchor="ctr" anchorCtr="1"/>
            <a:lstStyle/>
            <a:p>
              <a:pPr algn="ctr">
                <a:defRPr lang="nl-BE" sz="1200" b="0" i="0" u="none" strike="noStrike" kern="1200" baseline="0" dirty="0" err="1" smtClean="0">
                  <a:solidFill>
                    <a:schemeClr val="bg1">
                      <a:lumMod val="65000"/>
                    </a:schemeClr>
                  </a:solidFill>
                  <a:latin typeface="+mn-lt"/>
                  <a:ea typeface="+mn-ea"/>
                  <a:cs typeface="+mn-cs"/>
                </a:defRPr>
              </a:pPr>
              <a:endParaRPr lang="en-US"/>
            </a:p>
          </c:txPr>
        </c:title>
        <c:numFmt formatCode="&quot;€&quot;\ #,##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lumMod val="65000"/>
                  </a:schemeClr>
                </a:solidFill>
                <a:latin typeface="+mn-lt"/>
                <a:ea typeface="+mn-ea"/>
                <a:cs typeface="+mn-cs"/>
              </a:defRPr>
            </a:pPr>
            <a:endParaRPr lang="en-US"/>
          </a:p>
        </c:txPr>
        <c:crossAx val="503992456"/>
        <c:crosses val="autoZero"/>
        <c:crossBetween val="between"/>
      </c:valAx>
      <c:spPr>
        <a:noFill/>
        <a:ln>
          <a:noFill/>
        </a:ln>
        <a:effectLst/>
      </c:spPr>
    </c:plotArea>
    <c:legend>
      <c:legendPos val="t"/>
      <c:layout>
        <c:manualLayout>
          <c:xMode val="edge"/>
          <c:yMode val="edge"/>
          <c:x val="0.24173192845934835"/>
          <c:y val="0.16501411680521053"/>
          <c:w val="0.51064057141639985"/>
          <c:h val="6.545272435897435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3000" b="0" i="0" u="none" strike="noStrike" kern="1200" cap="none" spc="50" baseline="0">
                <a:solidFill>
                  <a:schemeClr val="tx1">
                    <a:lumMod val="65000"/>
                    <a:lumOff val="35000"/>
                  </a:schemeClr>
                </a:solidFill>
                <a:latin typeface="+mn-lt"/>
                <a:ea typeface="+mn-ea"/>
                <a:cs typeface="+mn-cs"/>
              </a:defRPr>
            </a:pPr>
            <a:r>
              <a:rPr lang="nl-BE" sz="3000" baseline="0" dirty="0"/>
              <a:t>Sales pallets</a:t>
            </a:r>
          </a:p>
        </c:rich>
      </c:tx>
      <c:layout>
        <c:manualLayout>
          <c:xMode val="edge"/>
          <c:yMode val="edge"/>
          <c:x val="3.1777306127513109E-2"/>
          <c:y val="0"/>
        </c:manualLayout>
      </c:layout>
      <c:overlay val="0"/>
      <c:spPr>
        <a:noFill/>
        <a:ln>
          <a:noFill/>
        </a:ln>
        <a:effectLst/>
      </c:spPr>
      <c:txPr>
        <a:bodyPr rot="0" spcFirstLastPara="1" vertOverflow="ellipsis" vert="horz" wrap="square" anchor="ctr" anchorCtr="1"/>
        <a:lstStyle/>
        <a:p>
          <a:pPr>
            <a:defRPr sz="3000" b="0" i="0" u="none" strike="noStrike" kern="1200" cap="none" spc="5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513811388362491"/>
          <c:y val="0.15306930045006759"/>
          <c:w val="0.76975809714929988"/>
          <c:h val="0.46887571977143017"/>
        </c:manualLayout>
      </c:layout>
      <c:lineChart>
        <c:grouping val="standard"/>
        <c:varyColors val="0"/>
        <c:ser>
          <c:idx val="0"/>
          <c:order val="0"/>
          <c:tx>
            <c:strRef>
              <c:f>'Charts individueel'!$C$5</c:f>
              <c:strCache>
                <c:ptCount val="1"/>
                <c:pt idx="0">
                  <c:v>Gent</c:v>
                </c:pt>
              </c:strCache>
            </c:strRef>
          </c:tx>
          <c:spPr>
            <a:ln w="28575" cap="rnd">
              <a:solidFill>
                <a:schemeClr val="accent1">
                  <a:shade val="58000"/>
                </a:schemeClr>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9-5A9B-4B5A-A4C7-6B4A9A301CE3}"/>
                </c:ext>
              </c:extLst>
            </c:dLbl>
            <c:dLbl>
              <c:idx val="1"/>
              <c:delete val="1"/>
              <c:extLst>
                <c:ext xmlns:c15="http://schemas.microsoft.com/office/drawing/2012/chart" uri="{CE6537A1-D6FC-4f65-9D91-7224C49458BB}"/>
                <c:ext xmlns:c16="http://schemas.microsoft.com/office/drawing/2014/chart" uri="{C3380CC4-5D6E-409C-BE32-E72D297353CC}">
                  <c16:uniqueId val="{0000000A-5A9B-4B5A-A4C7-6B4A9A301CE3}"/>
                </c:ext>
              </c:extLst>
            </c:dLbl>
            <c:dLbl>
              <c:idx val="2"/>
              <c:delete val="1"/>
              <c:extLst>
                <c:ext xmlns:c15="http://schemas.microsoft.com/office/drawing/2012/chart" uri="{CE6537A1-D6FC-4f65-9D91-7224C49458BB}"/>
                <c:ext xmlns:c16="http://schemas.microsoft.com/office/drawing/2014/chart" uri="{C3380CC4-5D6E-409C-BE32-E72D297353CC}">
                  <c16:uniqueId val="{0000000B-5A9B-4B5A-A4C7-6B4A9A301CE3}"/>
                </c:ext>
              </c:extLst>
            </c:dLbl>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tx1">
                        <a:lumMod val="65000"/>
                        <a:lumOff val="3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arts individueel'!$D$4:$G$4</c:f>
              <c:numCache>
                <c:formatCode>General</c:formatCode>
                <c:ptCount val="4"/>
                <c:pt idx="0">
                  <c:v>2018</c:v>
                </c:pt>
                <c:pt idx="1">
                  <c:v>2019</c:v>
                </c:pt>
                <c:pt idx="2">
                  <c:v>2020</c:v>
                </c:pt>
                <c:pt idx="3">
                  <c:v>2021</c:v>
                </c:pt>
              </c:numCache>
            </c:numRef>
          </c:cat>
          <c:val>
            <c:numRef>
              <c:f>'Charts individueel'!$D$5:$G$5</c:f>
              <c:numCache>
                <c:formatCode>General</c:formatCode>
                <c:ptCount val="4"/>
                <c:pt idx="0">
                  <c:v>250</c:v>
                </c:pt>
                <c:pt idx="1">
                  <c:v>265</c:v>
                </c:pt>
                <c:pt idx="2">
                  <c:v>286</c:v>
                </c:pt>
                <c:pt idx="3" formatCode="0">
                  <c:v>303</c:v>
                </c:pt>
              </c:numCache>
            </c:numRef>
          </c:val>
          <c:smooth val="0"/>
          <c:extLst>
            <c:ext xmlns:c16="http://schemas.microsoft.com/office/drawing/2014/chart" uri="{C3380CC4-5D6E-409C-BE32-E72D297353CC}">
              <c16:uniqueId val="{00000000-1E06-42A0-B5E8-1AC6992871A1}"/>
            </c:ext>
          </c:extLst>
        </c:ser>
        <c:ser>
          <c:idx val="1"/>
          <c:order val="1"/>
          <c:tx>
            <c:strRef>
              <c:f>'Charts individueel'!$C$6</c:f>
              <c:strCache>
                <c:ptCount val="1"/>
                <c:pt idx="0">
                  <c:v>Brussel</c:v>
                </c:pt>
              </c:strCache>
            </c:strRef>
          </c:tx>
          <c:spPr>
            <a:ln w="28575" cap="rnd">
              <a:solidFill>
                <a:schemeClr val="accent1">
                  <a:shade val="86000"/>
                </a:schemeClr>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C-5A9B-4B5A-A4C7-6B4A9A301CE3}"/>
                </c:ext>
              </c:extLst>
            </c:dLbl>
            <c:dLbl>
              <c:idx val="1"/>
              <c:delete val="1"/>
              <c:extLst>
                <c:ext xmlns:c15="http://schemas.microsoft.com/office/drawing/2012/chart" uri="{CE6537A1-D6FC-4f65-9D91-7224C49458BB}"/>
                <c:ext xmlns:c16="http://schemas.microsoft.com/office/drawing/2014/chart" uri="{C3380CC4-5D6E-409C-BE32-E72D297353CC}">
                  <c16:uniqueId val="{0000000D-5A9B-4B5A-A4C7-6B4A9A301CE3}"/>
                </c:ext>
              </c:extLst>
            </c:dLbl>
            <c:dLbl>
              <c:idx val="2"/>
              <c:delete val="1"/>
              <c:extLst>
                <c:ext xmlns:c15="http://schemas.microsoft.com/office/drawing/2012/chart" uri="{CE6537A1-D6FC-4f65-9D91-7224C49458BB}"/>
                <c:ext xmlns:c16="http://schemas.microsoft.com/office/drawing/2014/chart" uri="{C3380CC4-5D6E-409C-BE32-E72D297353CC}">
                  <c16:uniqueId val="{0000000E-5A9B-4B5A-A4C7-6B4A9A301CE3}"/>
                </c:ext>
              </c:extLst>
            </c:dLbl>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tx1">
                        <a:lumMod val="65000"/>
                        <a:lumOff val="3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numRef>
              <c:f>'Charts individueel'!$D$4:$G$4</c:f>
              <c:numCache>
                <c:formatCode>General</c:formatCode>
                <c:ptCount val="4"/>
                <c:pt idx="0">
                  <c:v>2018</c:v>
                </c:pt>
                <c:pt idx="1">
                  <c:v>2019</c:v>
                </c:pt>
                <c:pt idx="2">
                  <c:v>2020</c:v>
                </c:pt>
                <c:pt idx="3">
                  <c:v>2021</c:v>
                </c:pt>
              </c:numCache>
            </c:numRef>
          </c:cat>
          <c:val>
            <c:numRef>
              <c:f>'Charts individueel'!$D$6:$G$6</c:f>
              <c:numCache>
                <c:formatCode>General</c:formatCode>
                <c:ptCount val="4"/>
                <c:pt idx="0">
                  <c:v>300</c:v>
                </c:pt>
                <c:pt idx="1">
                  <c:v>520</c:v>
                </c:pt>
                <c:pt idx="2">
                  <c:v>250</c:v>
                </c:pt>
                <c:pt idx="3" formatCode="0">
                  <c:v>229.22018348623851</c:v>
                </c:pt>
              </c:numCache>
            </c:numRef>
          </c:val>
          <c:smooth val="0"/>
          <c:extLst>
            <c:ext xmlns:c16="http://schemas.microsoft.com/office/drawing/2014/chart" uri="{C3380CC4-5D6E-409C-BE32-E72D297353CC}">
              <c16:uniqueId val="{00000001-1E06-42A0-B5E8-1AC6992871A1}"/>
            </c:ext>
          </c:extLst>
        </c:ser>
        <c:ser>
          <c:idx val="2"/>
          <c:order val="2"/>
          <c:tx>
            <c:strRef>
              <c:f>'Charts individueel'!$C$7</c:f>
              <c:strCache>
                <c:ptCount val="1"/>
                <c:pt idx="0">
                  <c:v>Antwerpen</c:v>
                </c:pt>
              </c:strCache>
            </c:strRef>
          </c:tx>
          <c:spPr>
            <a:ln w="28575" cap="rnd">
              <a:solidFill>
                <a:schemeClr val="accent1">
                  <a:tint val="86000"/>
                </a:schemeClr>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1-5A9B-4B5A-A4C7-6B4A9A301CE3}"/>
                </c:ext>
              </c:extLst>
            </c:dLbl>
            <c:dLbl>
              <c:idx val="1"/>
              <c:delete val="1"/>
              <c:extLst>
                <c:ext xmlns:c15="http://schemas.microsoft.com/office/drawing/2012/chart" uri="{CE6537A1-D6FC-4f65-9D91-7224C49458BB}"/>
                <c:ext xmlns:c16="http://schemas.microsoft.com/office/drawing/2014/chart" uri="{C3380CC4-5D6E-409C-BE32-E72D297353CC}">
                  <c16:uniqueId val="{00000002-5A9B-4B5A-A4C7-6B4A9A301CE3}"/>
                </c:ext>
              </c:extLst>
            </c:dLbl>
            <c:dLbl>
              <c:idx val="2"/>
              <c:delete val="1"/>
              <c:extLst>
                <c:ext xmlns:c15="http://schemas.microsoft.com/office/drawing/2012/chart" uri="{CE6537A1-D6FC-4f65-9D91-7224C49458BB}"/>
                <c:ext xmlns:c16="http://schemas.microsoft.com/office/drawing/2014/chart" uri="{C3380CC4-5D6E-409C-BE32-E72D297353CC}">
                  <c16:uniqueId val="{00000003-5A9B-4B5A-A4C7-6B4A9A301CE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65000"/>
                        <a:lumOff val="3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numRef>
              <c:f>'Charts individueel'!$D$4:$G$4</c:f>
              <c:numCache>
                <c:formatCode>General</c:formatCode>
                <c:ptCount val="4"/>
                <c:pt idx="0">
                  <c:v>2018</c:v>
                </c:pt>
                <c:pt idx="1">
                  <c:v>2019</c:v>
                </c:pt>
                <c:pt idx="2">
                  <c:v>2020</c:v>
                </c:pt>
                <c:pt idx="3">
                  <c:v>2021</c:v>
                </c:pt>
              </c:numCache>
            </c:numRef>
          </c:cat>
          <c:val>
            <c:numRef>
              <c:f>'Charts individueel'!$D$7:$G$7</c:f>
              <c:numCache>
                <c:formatCode>General</c:formatCode>
                <c:ptCount val="4"/>
                <c:pt idx="0">
                  <c:v>350</c:v>
                </c:pt>
                <c:pt idx="1">
                  <c:v>400</c:v>
                </c:pt>
                <c:pt idx="2">
                  <c:v>359</c:v>
                </c:pt>
                <c:pt idx="3" formatCode="0">
                  <c:v>520</c:v>
                </c:pt>
              </c:numCache>
            </c:numRef>
          </c:val>
          <c:smooth val="0"/>
          <c:extLst>
            <c:ext xmlns:c16="http://schemas.microsoft.com/office/drawing/2014/chart" uri="{C3380CC4-5D6E-409C-BE32-E72D297353CC}">
              <c16:uniqueId val="{00000002-1E06-42A0-B5E8-1AC6992871A1}"/>
            </c:ext>
          </c:extLst>
        </c:ser>
        <c:ser>
          <c:idx val="3"/>
          <c:order val="3"/>
          <c:tx>
            <c:strRef>
              <c:f>'Charts individueel'!$C$8</c:f>
              <c:strCache>
                <c:ptCount val="1"/>
                <c:pt idx="0">
                  <c:v>Oostende</c:v>
                </c:pt>
              </c:strCache>
            </c:strRef>
          </c:tx>
          <c:spPr>
            <a:ln w="28575" cap="rnd">
              <a:solidFill>
                <a:schemeClr val="accent1">
                  <a:tint val="58000"/>
                </a:schemeClr>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5-5A9B-4B5A-A4C7-6B4A9A301CE3}"/>
                </c:ext>
              </c:extLst>
            </c:dLbl>
            <c:dLbl>
              <c:idx val="1"/>
              <c:delete val="1"/>
              <c:extLst>
                <c:ext xmlns:c15="http://schemas.microsoft.com/office/drawing/2012/chart" uri="{CE6537A1-D6FC-4f65-9D91-7224C49458BB}"/>
                <c:ext xmlns:c16="http://schemas.microsoft.com/office/drawing/2014/chart" uri="{C3380CC4-5D6E-409C-BE32-E72D297353CC}">
                  <c16:uniqueId val="{00000006-5A9B-4B5A-A4C7-6B4A9A301CE3}"/>
                </c:ext>
              </c:extLst>
            </c:dLbl>
            <c:dLbl>
              <c:idx val="2"/>
              <c:delete val="1"/>
              <c:extLst>
                <c:ext xmlns:c15="http://schemas.microsoft.com/office/drawing/2012/chart" uri="{CE6537A1-D6FC-4f65-9D91-7224C49458BB}"/>
                <c:ext xmlns:c16="http://schemas.microsoft.com/office/drawing/2014/chart" uri="{C3380CC4-5D6E-409C-BE32-E72D297353CC}">
                  <c16:uniqueId val="{00000007-5A9B-4B5A-A4C7-6B4A9A301CE3}"/>
                </c:ext>
              </c:extLst>
            </c:dLbl>
            <c:spPr>
              <a:noFill/>
              <a:ln>
                <a:noFill/>
              </a:ln>
              <a:effectLst/>
            </c:spPr>
            <c:txPr>
              <a:bodyPr rot="0" spcFirstLastPara="1" vertOverflow="ellipsis" vert="horz" wrap="square" lIns="38100" tIns="19050" rIns="38100" bIns="19050" anchor="ctr" anchorCtr="0">
                <a:spAutoFit/>
              </a:bodyPr>
              <a:lstStyle/>
              <a:p>
                <a:pPr algn="ctr">
                  <a:defRPr lang="en-US" sz="1600" b="0" i="0" u="none" strike="noStrike" kern="1200" baseline="0">
                    <a:solidFill>
                      <a:schemeClr val="tx1">
                        <a:lumMod val="65000"/>
                        <a:lumOff val="35000"/>
                      </a:schemeClr>
                    </a:solidFill>
                    <a:latin typeface="+mn-lt"/>
                    <a:ea typeface="+mn-ea"/>
                    <a:cs typeface="+mn-cs"/>
                  </a:defRPr>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numRef>
              <c:f>'Charts individueel'!$D$4:$G$4</c:f>
              <c:numCache>
                <c:formatCode>General</c:formatCode>
                <c:ptCount val="4"/>
                <c:pt idx="0">
                  <c:v>2018</c:v>
                </c:pt>
                <c:pt idx="1">
                  <c:v>2019</c:v>
                </c:pt>
                <c:pt idx="2">
                  <c:v>2020</c:v>
                </c:pt>
                <c:pt idx="3">
                  <c:v>2021</c:v>
                </c:pt>
              </c:numCache>
            </c:numRef>
          </c:cat>
          <c:val>
            <c:numRef>
              <c:f>'Charts individueel'!$D$8:$G$8</c:f>
              <c:numCache>
                <c:formatCode>General</c:formatCode>
                <c:ptCount val="4"/>
                <c:pt idx="0">
                  <c:v>56</c:v>
                </c:pt>
                <c:pt idx="1">
                  <c:v>68</c:v>
                </c:pt>
                <c:pt idx="2">
                  <c:v>98</c:v>
                </c:pt>
                <c:pt idx="3" formatCode="0">
                  <c:v>450</c:v>
                </c:pt>
              </c:numCache>
            </c:numRef>
          </c:val>
          <c:smooth val="0"/>
          <c:extLst>
            <c:ext xmlns:c16="http://schemas.microsoft.com/office/drawing/2014/chart" uri="{C3380CC4-5D6E-409C-BE32-E72D297353CC}">
              <c16:uniqueId val="{00000003-1E06-42A0-B5E8-1AC6992871A1}"/>
            </c:ext>
          </c:extLst>
        </c:ser>
        <c:dLbls>
          <c:showLegendKey val="0"/>
          <c:showVal val="0"/>
          <c:showCatName val="0"/>
          <c:showSerName val="0"/>
          <c:showPercent val="0"/>
          <c:showBubbleSize val="0"/>
        </c:dLbls>
        <c:smooth val="0"/>
        <c:axId val="503992456"/>
        <c:axId val="503994096"/>
      </c:lineChart>
      <c:catAx>
        <c:axId val="50399245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1" i="0" u="none" strike="noStrike" kern="1200" baseline="0">
                <a:solidFill>
                  <a:schemeClr val="tx1">
                    <a:lumMod val="50000"/>
                    <a:lumOff val="50000"/>
                  </a:schemeClr>
                </a:solidFill>
                <a:latin typeface="+mn-lt"/>
                <a:ea typeface="+mn-ea"/>
                <a:cs typeface="+mn-cs"/>
              </a:defRPr>
            </a:pPr>
            <a:endParaRPr lang="en-US"/>
          </a:p>
        </c:txPr>
        <c:crossAx val="503994096"/>
        <c:crosses val="autoZero"/>
        <c:auto val="1"/>
        <c:lblAlgn val="ctr"/>
        <c:lblOffset val="100"/>
        <c:noMultiLvlLbl val="0"/>
      </c:catAx>
      <c:valAx>
        <c:axId val="50399409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lumOff val="50000"/>
                  </a:schemeClr>
                </a:solidFill>
                <a:latin typeface="+mn-lt"/>
                <a:ea typeface="+mn-ea"/>
                <a:cs typeface="+mn-cs"/>
              </a:defRPr>
            </a:pPr>
            <a:endParaRPr lang="en-US"/>
          </a:p>
        </c:txPr>
        <c:crossAx val="503992456"/>
        <c:crosses val="autoZero"/>
        <c:crossBetween val="between"/>
      </c:valAx>
      <c:dTable>
        <c:showHorzBorder val="1"/>
        <c:showVertBorder val="1"/>
        <c:showOutline val="1"/>
        <c:showKeys val="1"/>
        <c:spPr>
          <a:noFill/>
          <a:ln w="9525">
            <a:solidFill>
              <a:schemeClr val="tx1">
                <a:lumMod val="15000"/>
                <a:lumOff val="85000"/>
              </a:schemeClr>
            </a:solidFill>
          </a:ln>
          <a:effectLst/>
        </c:spPr>
        <c:txPr>
          <a:bodyPr rot="0" spcFirstLastPara="1" vertOverflow="ellipsis" vert="horz" wrap="square" anchor="ctr" anchorCtr="1"/>
          <a:lstStyle/>
          <a:p>
            <a:pPr rtl="0">
              <a:defRPr sz="1600" b="0" i="0" u="none" strike="noStrike" kern="1200" baseline="0">
                <a:solidFill>
                  <a:schemeClr val="tx1">
                    <a:lumMod val="50000"/>
                    <a:lumOff val="50000"/>
                  </a:schemeClr>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cap="none" spc="20" baseline="0">
                <a:solidFill>
                  <a:schemeClr val="tx1">
                    <a:lumMod val="50000"/>
                    <a:lumOff val="50000"/>
                  </a:schemeClr>
                </a:solidFill>
                <a:latin typeface="+mn-lt"/>
                <a:ea typeface="+mn-ea"/>
                <a:cs typeface="+mn-cs"/>
              </a:defRPr>
            </a:pPr>
            <a:r>
              <a:rPr lang="en-GB" sz="2400" dirty="0"/>
              <a:t>2018</a:t>
            </a:r>
          </a:p>
        </c:rich>
      </c:tx>
      <c:layout>
        <c:manualLayout>
          <c:xMode val="edge"/>
          <c:yMode val="edge"/>
          <c:x val="3.7278260324832606E-2"/>
          <c:y val="2.6048129559704571E-2"/>
        </c:manualLayout>
      </c:layout>
      <c:overlay val="0"/>
      <c:spPr>
        <a:noFill/>
        <a:ln>
          <a:noFill/>
        </a:ln>
        <a:effectLst/>
      </c:spPr>
      <c:txPr>
        <a:bodyPr rot="0" spcFirstLastPara="1" vertOverflow="ellipsis" vert="horz" wrap="square" anchor="ctr" anchorCtr="1"/>
        <a:lstStyle/>
        <a:p>
          <a:pPr>
            <a:defRPr sz="2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4739957313124069"/>
          <c:y val="0.17122191465586073"/>
          <c:w val="0.81315021153532174"/>
          <c:h val="0.59885687171854118"/>
        </c:manualLayout>
      </c:layout>
      <c:barChart>
        <c:barDir val="bar"/>
        <c:grouping val="stacked"/>
        <c:varyColors val="0"/>
        <c:ser>
          <c:idx val="0"/>
          <c:order val="0"/>
          <c:tx>
            <c:strRef>
              <c:f>'Charts individueel'!$D$4</c:f>
              <c:strCache>
                <c:ptCount val="1"/>
                <c:pt idx="0">
                  <c:v>2018</c:v>
                </c:pt>
              </c:strCache>
            </c:strRef>
          </c:tx>
          <c:spPr>
            <a:gradFill rotWithShape="1">
              <a:gsLst>
                <a:gs pos="0">
                  <a:schemeClr val="accent1">
                    <a:tint val="65000"/>
                    <a:shade val="92000"/>
                    <a:satMod val="130000"/>
                  </a:schemeClr>
                </a:gs>
                <a:gs pos="45000">
                  <a:schemeClr val="accent1">
                    <a:tint val="60000"/>
                    <a:shade val="99000"/>
                    <a:satMod val="120000"/>
                  </a:schemeClr>
                </a:gs>
                <a:gs pos="100000">
                  <a:schemeClr val="accent1">
                    <a:tint val="55000"/>
                    <a:satMod val="140000"/>
                  </a:schemeClr>
                </a:gs>
              </a:gsLst>
              <a:path path="circle">
                <a:fillToRect l="100000" t="100000" r="100000" b="100000"/>
              </a:path>
            </a:gradFill>
            <a:ln w="9525" cap="flat" cmpd="sng" algn="ctr">
              <a:solidFill>
                <a:schemeClr val="accent1">
                  <a:shade val="95000"/>
                </a:schemeClr>
              </a:solidFill>
              <a:round/>
            </a:ln>
            <a:effectLst/>
          </c:spPr>
          <c:invertIfNegative val="0"/>
          <c:dPt>
            <c:idx val="3"/>
            <c:invertIfNegative val="0"/>
            <c:bubble3D val="0"/>
            <c:spPr>
              <a:solidFill>
                <a:schemeClr val="accent6"/>
              </a:solidFill>
              <a:ln w="9525" cap="flat" cmpd="sng" algn="ctr">
                <a:solidFill>
                  <a:schemeClr val="accent1">
                    <a:shade val="95000"/>
                  </a:schemeClr>
                </a:solidFill>
                <a:round/>
              </a:ln>
              <a:effectLst/>
            </c:spPr>
            <c:extLst>
              <c:ext xmlns:c16="http://schemas.microsoft.com/office/drawing/2014/chart" uri="{C3380CC4-5D6E-409C-BE32-E72D297353CC}">
                <c16:uniqueId val="{00000000-653C-430D-8D52-7DDEA2A9F478}"/>
              </c:ext>
            </c:extLst>
          </c:dPt>
          <c:cat>
            <c:strRef>
              <c:f>'Charts individueel'!$C$5:$C$8</c:f>
              <c:strCache>
                <c:ptCount val="4"/>
                <c:pt idx="0">
                  <c:v>Gent</c:v>
                </c:pt>
                <c:pt idx="1">
                  <c:v>Brussel</c:v>
                </c:pt>
                <c:pt idx="2">
                  <c:v>Antwerpen</c:v>
                </c:pt>
                <c:pt idx="3">
                  <c:v>Oostende</c:v>
                </c:pt>
              </c:strCache>
            </c:strRef>
          </c:cat>
          <c:val>
            <c:numRef>
              <c:f>'Charts individueel'!$D$5:$D$8</c:f>
              <c:numCache>
                <c:formatCode>General</c:formatCode>
                <c:ptCount val="4"/>
                <c:pt idx="0">
                  <c:v>250</c:v>
                </c:pt>
                <c:pt idx="1">
                  <c:v>300</c:v>
                </c:pt>
                <c:pt idx="2">
                  <c:v>350</c:v>
                </c:pt>
                <c:pt idx="3">
                  <c:v>56</c:v>
                </c:pt>
              </c:numCache>
            </c:numRef>
          </c:val>
          <c:extLst>
            <c:ext xmlns:c16="http://schemas.microsoft.com/office/drawing/2014/chart" uri="{C3380CC4-5D6E-409C-BE32-E72D297353CC}">
              <c16:uniqueId val="{00000000-8A2D-4983-A86C-20431C5C1E84}"/>
            </c:ext>
          </c:extLst>
        </c:ser>
        <c:dLbls>
          <c:showLegendKey val="0"/>
          <c:showVal val="0"/>
          <c:showCatName val="0"/>
          <c:showSerName val="0"/>
          <c:showPercent val="0"/>
          <c:showBubbleSize val="0"/>
        </c:dLbls>
        <c:gapWidth val="150"/>
        <c:overlap val="100"/>
        <c:axId val="503992456"/>
        <c:axId val="503994096"/>
        <c:extLst>
          <c:ext xmlns:c15="http://schemas.microsoft.com/office/drawing/2012/chart" uri="{02D57815-91ED-43cb-92C2-25804820EDAC}">
            <c15:filteredBarSeries>
              <c15:ser>
                <c:idx val="1"/>
                <c:order val="1"/>
                <c:tx>
                  <c:strRef>
                    <c:extLst>
                      <c:ext uri="{02D57815-91ED-43cb-92C2-25804820EDAC}">
                        <c15:formulaRef>
                          <c15:sqref>'Charts individueel'!$E$4</c15:sqref>
                        </c15:formulaRef>
                      </c:ext>
                    </c:extLst>
                    <c:strCache>
                      <c:ptCount val="1"/>
                      <c:pt idx="0">
                        <c:v>2019</c:v>
                      </c:pt>
                    </c:strCache>
                  </c:strRef>
                </c:tx>
                <c:spPr>
                  <a:gradFill rotWithShape="1">
                    <a:gsLst>
                      <a:gs pos="0">
                        <a:schemeClr val="accent2">
                          <a:tint val="65000"/>
                          <a:shade val="92000"/>
                          <a:satMod val="130000"/>
                        </a:schemeClr>
                      </a:gs>
                      <a:gs pos="45000">
                        <a:schemeClr val="accent2">
                          <a:tint val="60000"/>
                          <a:shade val="99000"/>
                          <a:satMod val="120000"/>
                        </a:schemeClr>
                      </a:gs>
                      <a:gs pos="100000">
                        <a:schemeClr val="accent2">
                          <a:tint val="55000"/>
                          <a:satMod val="140000"/>
                        </a:schemeClr>
                      </a:gs>
                    </a:gsLst>
                    <a:path path="circle">
                      <a:fillToRect l="100000" t="100000" r="100000" b="100000"/>
                    </a:path>
                  </a:gradFill>
                  <a:ln w="9525" cap="flat" cmpd="sng" algn="ctr">
                    <a:solidFill>
                      <a:schemeClr val="accent2">
                        <a:shade val="95000"/>
                      </a:schemeClr>
                    </a:solidFill>
                    <a:round/>
                  </a:ln>
                  <a:effectLst/>
                </c:spPr>
                <c:invertIfNegative val="0"/>
                <c:cat>
                  <c:strRef>
                    <c:extLst>
                      <c:ex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c:ext uri="{02D57815-91ED-43cb-92C2-25804820EDAC}">
                        <c15:formulaRef>
                          <c15:sqref>'Charts individueel'!$E$5:$E$8</c15:sqref>
                        </c15:formulaRef>
                      </c:ext>
                    </c:extLst>
                    <c:numCache>
                      <c:formatCode>General</c:formatCode>
                      <c:ptCount val="4"/>
                      <c:pt idx="0">
                        <c:v>265</c:v>
                      </c:pt>
                      <c:pt idx="1">
                        <c:v>520</c:v>
                      </c:pt>
                      <c:pt idx="2">
                        <c:v>400</c:v>
                      </c:pt>
                      <c:pt idx="3">
                        <c:v>68</c:v>
                      </c:pt>
                    </c:numCache>
                  </c:numRef>
                </c:val>
                <c:extLst>
                  <c:ext xmlns:c16="http://schemas.microsoft.com/office/drawing/2014/chart" uri="{C3380CC4-5D6E-409C-BE32-E72D297353CC}">
                    <c16:uniqueId val="{00000001-8A2D-4983-A86C-20431C5C1E84}"/>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Charts individueel'!$F$4</c15:sqref>
                        </c15:formulaRef>
                      </c:ext>
                    </c:extLst>
                    <c:strCache>
                      <c:ptCount val="1"/>
                      <c:pt idx="0">
                        <c:v>2020</c:v>
                      </c:pt>
                    </c:strCache>
                  </c:strRef>
                </c:tx>
                <c:spPr>
                  <a:gradFill rotWithShape="1">
                    <a:gsLst>
                      <a:gs pos="0">
                        <a:schemeClr val="accent3">
                          <a:tint val="65000"/>
                          <a:shade val="92000"/>
                          <a:satMod val="130000"/>
                        </a:schemeClr>
                      </a:gs>
                      <a:gs pos="45000">
                        <a:schemeClr val="accent3">
                          <a:tint val="60000"/>
                          <a:shade val="99000"/>
                          <a:satMod val="120000"/>
                        </a:schemeClr>
                      </a:gs>
                      <a:gs pos="100000">
                        <a:schemeClr val="accent3">
                          <a:tint val="55000"/>
                          <a:satMod val="140000"/>
                        </a:schemeClr>
                      </a:gs>
                    </a:gsLst>
                    <a:path path="circle">
                      <a:fillToRect l="100000" t="100000" r="100000" b="100000"/>
                    </a:path>
                  </a:gradFill>
                  <a:ln w="9525" cap="flat" cmpd="sng" algn="ctr">
                    <a:solidFill>
                      <a:schemeClr val="accent3">
                        <a:shade val="95000"/>
                      </a:schemeClr>
                    </a:solidFill>
                    <a:round/>
                  </a:ln>
                  <a:effectLst/>
                </c:spPr>
                <c:invertIfNegative val="0"/>
                <c:cat>
                  <c:strRef>
                    <c:extLst xmlns:c15="http://schemas.microsoft.com/office/drawing/2012/chart">
                      <c:ext xmlns:c15="http://schemas.microsoft.com/office/drawing/2012/char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xmlns:c15="http://schemas.microsoft.com/office/drawing/2012/chart">
                      <c:ext xmlns:c15="http://schemas.microsoft.com/office/drawing/2012/chart" uri="{02D57815-91ED-43cb-92C2-25804820EDAC}">
                        <c15:formulaRef>
                          <c15:sqref>'Charts individueel'!$F$5:$F$8</c15:sqref>
                        </c15:formulaRef>
                      </c:ext>
                    </c:extLst>
                    <c:numCache>
                      <c:formatCode>General</c:formatCode>
                      <c:ptCount val="4"/>
                      <c:pt idx="0">
                        <c:v>286</c:v>
                      </c:pt>
                      <c:pt idx="1">
                        <c:v>250</c:v>
                      </c:pt>
                      <c:pt idx="2">
                        <c:v>359</c:v>
                      </c:pt>
                      <c:pt idx="3">
                        <c:v>98</c:v>
                      </c:pt>
                    </c:numCache>
                  </c:numRef>
                </c:val>
                <c:extLst xmlns:c15="http://schemas.microsoft.com/office/drawing/2012/chart">
                  <c:ext xmlns:c16="http://schemas.microsoft.com/office/drawing/2014/chart" uri="{C3380CC4-5D6E-409C-BE32-E72D297353CC}">
                    <c16:uniqueId val="{00000002-8A2D-4983-A86C-20431C5C1E84}"/>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Charts individueel'!$G$4</c15:sqref>
                        </c15:formulaRef>
                      </c:ext>
                    </c:extLst>
                    <c:strCache>
                      <c:ptCount val="1"/>
                      <c:pt idx="0">
                        <c:v>2021</c:v>
                      </c:pt>
                    </c:strCache>
                  </c:strRef>
                </c:tx>
                <c:spPr>
                  <a:gradFill rotWithShape="1">
                    <a:gsLst>
                      <a:gs pos="0">
                        <a:schemeClr val="accent4">
                          <a:tint val="65000"/>
                          <a:shade val="92000"/>
                          <a:satMod val="130000"/>
                        </a:schemeClr>
                      </a:gs>
                      <a:gs pos="45000">
                        <a:schemeClr val="accent4">
                          <a:tint val="60000"/>
                          <a:shade val="99000"/>
                          <a:satMod val="120000"/>
                        </a:schemeClr>
                      </a:gs>
                      <a:gs pos="100000">
                        <a:schemeClr val="accent4">
                          <a:tint val="55000"/>
                          <a:satMod val="140000"/>
                        </a:schemeClr>
                      </a:gs>
                    </a:gsLst>
                    <a:path path="circle">
                      <a:fillToRect l="100000" t="100000" r="100000" b="100000"/>
                    </a:path>
                  </a:gradFill>
                  <a:ln w="9525" cap="flat" cmpd="sng" algn="ctr">
                    <a:solidFill>
                      <a:schemeClr val="accent4">
                        <a:shade val="95000"/>
                      </a:schemeClr>
                    </a:solidFill>
                    <a:round/>
                  </a:ln>
                  <a:effectLst/>
                </c:spPr>
                <c:invertIfNegative val="0"/>
                <c:cat>
                  <c:strRef>
                    <c:extLst xmlns:c15="http://schemas.microsoft.com/office/drawing/2012/chart">
                      <c:ext xmlns:c15="http://schemas.microsoft.com/office/drawing/2012/char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xmlns:c15="http://schemas.microsoft.com/office/drawing/2012/chart">
                      <c:ext xmlns:c15="http://schemas.microsoft.com/office/drawing/2012/chart" uri="{02D57815-91ED-43cb-92C2-25804820EDAC}">
                        <c15:formulaRef>
                          <c15:sqref>'Charts individueel'!$G$5:$G$8</c15:sqref>
                        </c15:formulaRef>
                      </c:ext>
                    </c:extLst>
                    <c:numCache>
                      <c:formatCode>0</c:formatCode>
                      <c:ptCount val="4"/>
                      <c:pt idx="0">
                        <c:v>303</c:v>
                      </c:pt>
                      <c:pt idx="1">
                        <c:v>229.22018348623851</c:v>
                      </c:pt>
                      <c:pt idx="2">
                        <c:v>520</c:v>
                      </c:pt>
                      <c:pt idx="3">
                        <c:v>350</c:v>
                      </c:pt>
                    </c:numCache>
                  </c:numRef>
                </c:val>
                <c:extLst xmlns:c15="http://schemas.microsoft.com/office/drawing/2012/chart">
                  <c:ext xmlns:c16="http://schemas.microsoft.com/office/drawing/2014/chart" uri="{C3380CC4-5D6E-409C-BE32-E72D297353CC}">
                    <c16:uniqueId val="{00000003-8A2D-4983-A86C-20431C5C1E84}"/>
                  </c:ext>
                </c:extLst>
              </c15:ser>
            </c15:filteredBarSeries>
          </c:ext>
        </c:extLst>
      </c:barChart>
      <c:catAx>
        <c:axId val="503992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lumOff val="50000"/>
                  </a:schemeClr>
                </a:solidFill>
                <a:latin typeface="+mn-lt"/>
                <a:ea typeface="+mn-ea"/>
                <a:cs typeface="+mn-cs"/>
              </a:defRPr>
            </a:pPr>
            <a:endParaRPr lang="en-US"/>
          </a:p>
        </c:txPr>
        <c:crossAx val="503994096"/>
        <c:crosses val="autoZero"/>
        <c:auto val="1"/>
        <c:lblAlgn val="ctr"/>
        <c:lblOffset val="100"/>
        <c:noMultiLvlLbl val="0"/>
      </c:catAx>
      <c:valAx>
        <c:axId val="5039940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n-lt"/>
                <a:ea typeface="+mn-ea"/>
                <a:cs typeface="+mn-cs"/>
              </a:defRPr>
            </a:pPr>
            <a:endParaRPr lang="en-US"/>
          </a:p>
        </c:txPr>
        <c:crossAx val="503992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cap="none" spc="20" baseline="0">
                <a:solidFill>
                  <a:schemeClr val="tx1">
                    <a:lumMod val="50000"/>
                    <a:lumOff val="50000"/>
                  </a:schemeClr>
                </a:solidFill>
                <a:latin typeface="+mn-lt"/>
                <a:ea typeface="+mn-ea"/>
                <a:cs typeface="+mn-cs"/>
              </a:defRPr>
            </a:pPr>
            <a:r>
              <a:rPr lang="en-GB" sz="2400" dirty="0"/>
              <a:t>2019</a:t>
            </a:r>
          </a:p>
        </c:rich>
      </c:tx>
      <c:layout>
        <c:manualLayout>
          <c:xMode val="edge"/>
          <c:yMode val="edge"/>
          <c:x val="3.7278260324832606E-2"/>
          <c:y val="2.6048129559704571E-2"/>
        </c:manualLayout>
      </c:layout>
      <c:overlay val="0"/>
      <c:spPr>
        <a:noFill/>
        <a:ln>
          <a:noFill/>
        </a:ln>
        <a:effectLst/>
      </c:spPr>
      <c:txPr>
        <a:bodyPr rot="0" spcFirstLastPara="1" vertOverflow="ellipsis" vert="horz" wrap="square" anchor="ctr" anchorCtr="1"/>
        <a:lstStyle/>
        <a:p>
          <a:pPr>
            <a:defRPr sz="2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4739957313124069"/>
          <c:y val="0.17122191465586073"/>
          <c:w val="0.81315021153532174"/>
          <c:h val="0.59885687171854118"/>
        </c:manualLayout>
      </c:layout>
      <c:barChart>
        <c:barDir val="bar"/>
        <c:grouping val="stacked"/>
        <c:varyColors val="0"/>
        <c:ser>
          <c:idx val="1"/>
          <c:order val="1"/>
          <c:tx>
            <c:strRef>
              <c:f>'Charts individueel'!$E$4</c:f>
              <c:strCache>
                <c:ptCount val="1"/>
                <c:pt idx="0">
                  <c:v>2019</c:v>
                </c:pt>
              </c:strCache>
            </c:strRef>
          </c:tx>
          <c:spPr>
            <a:gradFill rotWithShape="1">
              <a:gsLst>
                <a:gs pos="0">
                  <a:schemeClr val="accent2">
                    <a:tint val="65000"/>
                    <a:shade val="92000"/>
                    <a:satMod val="130000"/>
                  </a:schemeClr>
                </a:gs>
                <a:gs pos="45000">
                  <a:schemeClr val="accent2">
                    <a:tint val="60000"/>
                    <a:shade val="99000"/>
                    <a:satMod val="120000"/>
                  </a:schemeClr>
                </a:gs>
                <a:gs pos="100000">
                  <a:schemeClr val="accent2">
                    <a:tint val="55000"/>
                    <a:satMod val="140000"/>
                  </a:schemeClr>
                </a:gs>
              </a:gsLst>
              <a:path path="circle">
                <a:fillToRect l="100000" t="100000" r="100000" b="100000"/>
              </a:path>
            </a:gradFill>
            <a:ln w="9525" cap="flat" cmpd="sng" algn="ctr">
              <a:solidFill>
                <a:schemeClr val="accent2">
                  <a:shade val="95000"/>
                </a:schemeClr>
              </a:solidFill>
              <a:round/>
            </a:ln>
            <a:effectLst/>
          </c:spPr>
          <c:invertIfNegative val="0"/>
          <c:dPt>
            <c:idx val="3"/>
            <c:invertIfNegative val="0"/>
            <c:bubble3D val="0"/>
            <c:spPr>
              <a:solidFill>
                <a:schemeClr val="accent6"/>
              </a:solidFill>
              <a:ln w="9525" cap="flat" cmpd="sng" algn="ctr">
                <a:solidFill>
                  <a:schemeClr val="accent2">
                    <a:shade val="95000"/>
                  </a:schemeClr>
                </a:solidFill>
                <a:round/>
              </a:ln>
              <a:effectLst/>
            </c:spPr>
            <c:extLst>
              <c:ext xmlns:c16="http://schemas.microsoft.com/office/drawing/2014/chart" uri="{C3380CC4-5D6E-409C-BE32-E72D297353CC}">
                <c16:uniqueId val="{00000000-1D27-4762-BE6B-62A8F8B0EEE3}"/>
              </c:ext>
            </c:extLst>
          </c:dPt>
          <c:cat>
            <c:strRef>
              <c:f>'Charts individueel'!$C$5:$C$8</c:f>
              <c:strCache>
                <c:ptCount val="4"/>
                <c:pt idx="0">
                  <c:v>Gent</c:v>
                </c:pt>
                <c:pt idx="1">
                  <c:v>Brussel</c:v>
                </c:pt>
                <c:pt idx="2">
                  <c:v>Antwerpen</c:v>
                </c:pt>
                <c:pt idx="3">
                  <c:v>Oostende</c:v>
                </c:pt>
              </c:strCache>
            </c:strRef>
          </c:cat>
          <c:val>
            <c:numRef>
              <c:f>'Charts individueel'!$E$5:$E$8</c:f>
              <c:numCache>
                <c:formatCode>General</c:formatCode>
                <c:ptCount val="4"/>
                <c:pt idx="0">
                  <c:v>265</c:v>
                </c:pt>
                <c:pt idx="1">
                  <c:v>520</c:v>
                </c:pt>
                <c:pt idx="2">
                  <c:v>400</c:v>
                </c:pt>
                <c:pt idx="3">
                  <c:v>68</c:v>
                </c:pt>
              </c:numCache>
            </c:numRef>
          </c:val>
          <c:extLst>
            <c:ext xmlns:c16="http://schemas.microsoft.com/office/drawing/2014/chart" uri="{C3380CC4-5D6E-409C-BE32-E72D297353CC}">
              <c16:uniqueId val="{00000001-8A2D-4983-A86C-20431C5C1E84}"/>
            </c:ext>
          </c:extLst>
        </c:ser>
        <c:dLbls>
          <c:showLegendKey val="0"/>
          <c:showVal val="0"/>
          <c:showCatName val="0"/>
          <c:showSerName val="0"/>
          <c:showPercent val="0"/>
          <c:showBubbleSize val="0"/>
        </c:dLbls>
        <c:gapWidth val="150"/>
        <c:overlap val="100"/>
        <c:axId val="503992456"/>
        <c:axId val="503994096"/>
        <c:extLst>
          <c:ext xmlns:c15="http://schemas.microsoft.com/office/drawing/2012/chart" uri="{02D57815-91ED-43cb-92C2-25804820EDAC}">
            <c15:filteredBarSeries>
              <c15:ser>
                <c:idx val="0"/>
                <c:order val="0"/>
                <c:tx>
                  <c:strRef>
                    <c:extLst>
                      <c:ext uri="{02D57815-91ED-43cb-92C2-25804820EDAC}">
                        <c15:formulaRef>
                          <c15:sqref>'Charts individueel'!$D$4</c15:sqref>
                        </c15:formulaRef>
                      </c:ext>
                    </c:extLst>
                    <c:strCache>
                      <c:ptCount val="1"/>
                      <c:pt idx="0">
                        <c:v>2018</c:v>
                      </c:pt>
                    </c:strCache>
                  </c:strRef>
                </c:tx>
                <c:spPr>
                  <a:gradFill rotWithShape="1">
                    <a:gsLst>
                      <a:gs pos="0">
                        <a:schemeClr val="accent1">
                          <a:tint val="65000"/>
                          <a:shade val="92000"/>
                          <a:satMod val="130000"/>
                        </a:schemeClr>
                      </a:gs>
                      <a:gs pos="45000">
                        <a:schemeClr val="accent1">
                          <a:tint val="60000"/>
                          <a:shade val="99000"/>
                          <a:satMod val="120000"/>
                        </a:schemeClr>
                      </a:gs>
                      <a:gs pos="100000">
                        <a:schemeClr val="accent1">
                          <a:tint val="55000"/>
                          <a:satMod val="140000"/>
                        </a:schemeClr>
                      </a:gs>
                    </a:gsLst>
                    <a:path path="circle">
                      <a:fillToRect l="100000" t="100000" r="100000" b="100000"/>
                    </a:path>
                  </a:gradFill>
                  <a:ln w="9525" cap="flat" cmpd="sng" algn="ctr">
                    <a:solidFill>
                      <a:schemeClr val="accent1">
                        <a:shade val="95000"/>
                      </a:schemeClr>
                    </a:solidFill>
                    <a:round/>
                  </a:ln>
                  <a:effectLst/>
                </c:spPr>
                <c:invertIfNegative val="0"/>
                <c:cat>
                  <c:strRef>
                    <c:extLst>
                      <c:ex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c:ext uri="{02D57815-91ED-43cb-92C2-25804820EDAC}">
                        <c15:formulaRef>
                          <c15:sqref>'Charts individueel'!$D$5:$D$8</c15:sqref>
                        </c15:formulaRef>
                      </c:ext>
                    </c:extLst>
                    <c:numCache>
                      <c:formatCode>General</c:formatCode>
                      <c:ptCount val="4"/>
                      <c:pt idx="0">
                        <c:v>250</c:v>
                      </c:pt>
                      <c:pt idx="1">
                        <c:v>300</c:v>
                      </c:pt>
                      <c:pt idx="2">
                        <c:v>350</c:v>
                      </c:pt>
                      <c:pt idx="3">
                        <c:v>56</c:v>
                      </c:pt>
                    </c:numCache>
                  </c:numRef>
                </c:val>
                <c:extLst>
                  <c:ext xmlns:c16="http://schemas.microsoft.com/office/drawing/2014/chart" uri="{C3380CC4-5D6E-409C-BE32-E72D297353CC}">
                    <c16:uniqueId val="{00000000-8A2D-4983-A86C-20431C5C1E84}"/>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Charts individueel'!$F$4</c15:sqref>
                        </c15:formulaRef>
                      </c:ext>
                    </c:extLst>
                    <c:strCache>
                      <c:ptCount val="1"/>
                      <c:pt idx="0">
                        <c:v>2020</c:v>
                      </c:pt>
                    </c:strCache>
                  </c:strRef>
                </c:tx>
                <c:spPr>
                  <a:gradFill rotWithShape="1">
                    <a:gsLst>
                      <a:gs pos="0">
                        <a:schemeClr val="accent3">
                          <a:tint val="65000"/>
                          <a:shade val="92000"/>
                          <a:satMod val="130000"/>
                        </a:schemeClr>
                      </a:gs>
                      <a:gs pos="45000">
                        <a:schemeClr val="accent3">
                          <a:tint val="60000"/>
                          <a:shade val="99000"/>
                          <a:satMod val="120000"/>
                        </a:schemeClr>
                      </a:gs>
                      <a:gs pos="100000">
                        <a:schemeClr val="accent3">
                          <a:tint val="55000"/>
                          <a:satMod val="140000"/>
                        </a:schemeClr>
                      </a:gs>
                    </a:gsLst>
                    <a:path path="circle">
                      <a:fillToRect l="100000" t="100000" r="100000" b="100000"/>
                    </a:path>
                  </a:gradFill>
                  <a:ln w="9525" cap="flat" cmpd="sng" algn="ctr">
                    <a:solidFill>
                      <a:schemeClr val="accent3">
                        <a:shade val="95000"/>
                      </a:schemeClr>
                    </a:solidFill>
                    <a:round/>
                  </a:ln>
                  <a:effectLst/>
                </c:spPr>
                <c:invertIfNegative val="0"/>
                <c:cat>
                  <c:strRef>
                    <c:extLst xmlns:c15="http://schemas.microsoft.com/office/drawing/2012/chart">
                      <c:ext xmlns:c15="http://schemas.microsoft.com/office/drawing/2012/char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xmlns:c15="http://schemas.microsoft.com/office/drawing/2012/chart">
                      <c:ext xmlns:c15="http://schemas.microsoft.com/office/drawing/2012/chart" uri="{02D57815-91ED-43cb-92C2-25804820EDAC}">
                        <c15:formulaRef>
                          <c15:sqref>'Charts individueel'!$F$5:$F$8</c15:sqref>
                        </c15:formulaRef>
                      </c:ext>
                    </c:extLst>
                    <c:numCache>
                      <c:formatCode>General</c:formatCode>
                      <c:ptCount val="4"/>
                      <c:pt idx="0">
                        <c:v>286</c:v>
                      </c:pt>
                      <c:pt idx="1">
                        <c:v>250</c:v>
                      </c:pt>
                      <c:pt idx="2">
                        <c:v>359</c:v>
                      </c:pt>
                      <c:pt idx="3">
                        <c:v>98</c:v>
                      </c:pt>
                    </c:numCache>
                  </c:numRef>
                </c:val>
                <c:extLst xmlns:c15="http://schemas.microsoft.com/office/drawing/2012/chart">
                  <c:ext xmlns:c16="http://schemas.microsoft.com/office/drawing/2014/chart" uri="{C3380CC4-5D6E-409C-BE32-E72D297353CC}">
                    <c16:uniqueId val="{00000002-8A2D-4983-A86C-20431C5C1E84}"/>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Charts individueel'!$G$4</c15:sqref>
                        </c15:formulaRef>
                      </c:ext>
                    </c:extLst>
                    <c:strCache>
                      <c:ptCount val="1"/>
                      <c:pt idx="0">
                        <c:v>2021</c:v>
                      </c:pt>
                    </c:strCache>
                  </c:strRef>
                </c:tx>
                <c:spPr>
                  <a:gradFill rotWithShape="1">
                    <a:gsLst>
                      <a:gs pos="0">
                        <a:schemeClr val="accent4">
                          <a:tint val="65000"/>
                          <a:shade val="92000"/>
                          <a:satMod val="130000"/>
                        </a:schemeClr>
                      </a:gs>
                      <a:gs pos="45000">
                        <a:schemeClr val="accent4">
                          <a:tint val="60000"/>
                          <a:shade val="99000"/>
                          <a:satMod val="120000"/>
                        </a:schemeClr>
                      </a:gs>
                      <a:gs pos="100000">
                        <a:schemeClr val="accent4">
                          <a:tint val="55000"/>
                          <a:satMod val="140000"/>
                        </a:schemeClr>
                      </a:gs>
                    </a:gsLst>
                    <a:path path="circle">
                      <a:fillToRect l="100000" t="100000" r="100000" b="100000"/>
                    </a:path>
                  </a:gradFill>
                  <a:ln w="9525" cap="flat" cmpd="sng" algn="ctr">
                    <a:solidFill>
                      <a:schemeClr val="accent4">
                        <a:shade val="95000"/>
                      </a:schemeClr>
                    </a:solidFill>
                    <a:round/>
                  </a:ln>
                  <a:effectLst/>
                </c:spPr>
                <c:invertIfNegative val="0"/>
                <c:cat>
                  <c:strRef>
                    <c:extLst xmlns:c15="http://schemas.microsoft.com/office/drawing/2012/chart">
                      <c:ext xmlns:c15="http://schemas.microsoft.com/office/drawing/2012/char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xmlns:c15="http://schemas.microsoft.com/office/drawing/2012/chart">
                      <c:ext xmlns:c15="http://schemas.microsoft.com/office/drawing/2012/chart" uri="{02D57815-91ED-43cb-92C2-25804820EDAC}">
                        <c15:formulaRef>
                          <c15:sqref>'Charts individueel'!$G$5:$G$8</c15:sqref>
                        </c15:formulaRef>
                      </c:ext>
                    </c:extLst>
                    <c:numCache>
                      <c:formatCode>0</c:formatCode>
                      <c:ptCount val="4"/>
                      <c:pt idx="0">
                        <c:v>303</c:v>
                      </c:pt>
                      <c:pt idx="1">
                        <c:v>229.22018348623851</c:v>
                      </c:pt>
                      <c:pt idx="2">
                        <c:v>520</c:v>
                      </c:pt>
                      <c:pt idx="3">
                        <c:v>350</c:v>
                      </c:pt>
                    </c:numCache>
                  </c:numRef>
                </c:val>
                <c:extLst xmlns:c15="http://schemas.microsoft.com/office/drawing/2012/chart">
                  <c:ext xmlns:c16="http://schemas.microsoft.com/office/drawing/2014/chart" uri="{C3380CC4-5D6E-409C-BE32-E72D297353CC}">
                    <c16:uniqueId val="{00000003-8A2D-4983-A86C-20431C5C1E84}"/>
                  </c:ext>
                </c:extLst>
              </c15:ser>
            </c15:filteredBarSeries>
          </c:ext>
        </c:extLst>
      </c:barChart>
      <c:catAx>
        <c:axId val="503992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lumOff val="50000"/>
                  </a:schemeClr>
                </a:solidFill>
                <a:latin typeface="+mn-lt"/>
                <a:ea typeface="+mn-ea"/>
                <a:cs typeface="+mn-cs"/>
              </a:defRPr>
            </a:pPr>
            <a:endParaRPr lang="en-US"/>
          </a:p>
        </c:txPr>
        <c:crossAx val="503994096"/>
        <c:crosses val="autoZero"/>
        <c:auto val="1"/>
        <c:lblAlgn val="ctr"/>
        <c:lblOffset val="100"/>
        <c:noMultiLvlLbl val="0"/>
      </c:catAx>
      <c:valAx>
        <c:axId val="5039940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n-lt"/>
                <a:ea typeface="+mn-ea"/>
                <a:cs typeface="+mn-cs"/>
              </a:defRPr>
            </a:pPr>
            <a:endParaRPr lang="en-US"/>
          </a:p>
        </c:txPr>
        <c:crossAx val="503992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2400" b="0" i="0" u="none" strike="noStrike" kern="1200" cap="none" spc="20" baseline="0">
                <a:solidFill>
                  <a:schemeClr val="tx1">
                    <a:lumMod val="50000"/>
                    <a:lumOff val="50000"/>
                  </a:schemeClr>
                </a:solidFill>
                <a:latin typeface="+mn-lt"/>
                <a:ea typeface="+mn-ea"/>
                <a:cs typeface="+mn-cs"/>
              </a:defRPr>
            </a:pPr>
            <a:r>
              <a:rPr lang="en-GB" sz="2400" dirty="0"/>
              <a:t>2020</a:t>
            </a:r>
          </a:p>
        </c:rich>
      </c:tx>
      <c:layout>
        <c:manualLayout>
          <c:xMode val="edge"/>
          <c:yMode val="edge"/>
          <c:x val="3.7278260324832606E-2"/>
          <c:y val="2.6048129559704571E-2"/>
        </c:manualLayout>
      </c:layout>
      <c:overlay val="0"/>
      <c:spPr>
        <a:noFill/>
        <a:ln>
          <a:noFill/>
        </a:ln>
        <a:effectLst/>
      </c:spPr>
      <c:txPr>
        <a:bodyPr rot="0" spcFirstLastPara="1" vertOverflow="ellipsis" vert="horz" wrap="square" anchor="ctr" anchorCtr="1"/>
        <a:lstStyle/>
        <a:p>
          <a:pPr>
            <a:defRPr sz="2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4739957313124069"/>
          <c:y val="0.17122191465586073"/>
          <c:w val="0.81315021153532174"/>
          <c:h val="0.59885687171854118"/>
        </c:manualLayout>
      </c:layout>
      <c:barChart>
        <c:barDir val="bar"/>
        <c:grouping val="stacked"/>
        <c:varyColors val="0"/>
        <c:ser>
          <c:idx val="2"/>
          <c:order val="2"/>
          <c:tx>
            <c:strRef>
              <c:f>'Charts individueel'!$F$4</c:f>
              <c:strCache>
                <c:ptCount val="1"/>
                <c:pt idx="0">
                  <c:v>2020</c:v>
                </c:pt>
              </c:strCache>
            </c:strRef>
          </c:tx>
          <c:spPr>
            <a:gradFill rotWithShape="1">
              <a:gsLst>
                <a:gs pos="0">
                  <a:schemeClr val="accent5">
                    <a:tint val="86000"/>
                    <a:tint val="65000"/>
                    <a:shade val="92000"/>
                    <a:satMod val="130000"/>
                  </a:schemeClr>
                </a:gs>
                <a:gs pos="45000">
                  <a:schemeClr val="accent5">
                    <a:tint val="86000"/>
                    <a:tint val="60000"/>
                    <a:shade val="99000"/>
                    <a:satMod val="120000"/>
                  </a:schemeClr>
                </a:gs>
                <a:gs pos="100000">
                  <a:schemeClr val="accent5">
                    <a:tint val="86000"/>
                    <a:tint val="55000"/>
                    <a:satMod val="140000"/>
                  </a:schemeClr>
                </a:gs>
              </a:gsLst>
              <a:path path="circle">
                <a:fillToRect l="100000" t="100000" r="100000" b="100000"/>
              </a:path>
            </a:gradFill>
            <a:ln w="9525" cap="flat" cmpd="sng" algn="ctr">
              <a:solidFill>
                <a:schemeClr val="accent5">
                  <a:tint val="86000"/>
                  <a:shade val="95000"/>
                </a:schemeClr>
              </a:solidFill>
              <a:round/>
            </a:ln>
            <a:effectLst/>
          </c:spPr>
          <c:invertIfNegative val="0"/>
          <c:dPt>
            <c:idx val="3"/>
            <c:invertIfNegative val="0"/>
            <c:bubble3D val="0"/>
            <c:spPr>
              <a:solidFill>
                <a:schemeClr val="accent6"/>
              </a:solidFill>
              <a:ln w="9525" cap="flat" cmpd="sng" algn="ctr">
                <a:solidFill>
                  <a:schemeClr val="accent5">
                    <a:tint val="86000"/>
                    <a:shade val="95000"/>
                  </a:schemeClr>
                </a:solidFill>
                <a:round/>
              </a:ln>
              <a:effectLst/>
            </c:spPr>
            <c:extLst>
              <c:ext xmlns:c16="http://schemas.microsoft.com/office/drawing/2014/chart" uri="{C3380CC4-5D6E-409C-BE32-E72D297353CC}">
                <c16:uniqueId val="{00000000-5549-428A-8CB7-79E39106507D}"/>
              </c:ext>
            </c:extLst>
          </c:dPt>
          <c:cat>
            <c:strRef>
              <c:f>'Charts individueel'!$C$5:$C$8</c:f>
              <c:strCache>
                <c:ptCount val="4"/>
                <c:pt idx="0">
                  <c:v>Gent</c:v>
                </c:pt>
                <c:pt idx="1">
                  <c:v>Brussel</c:v>
                </c:pt>
                <c:pt idx="2">
                  <c:v>Antwerpen</c:v>
                </c:pt>
                <c:pt idx="3">
                  <c:v>Oostende</c:v>
                </c:pt>
              </c:strCache>
            </c:strRef>
          </c:cat>
          <c:val>
            <c:numRef>
              <c:f>'Charts individueel'!$F$5:$F$8</c:f>
              <c:numCache>
                <c:formatCode>General</c:formatCode>
                <c:ptCount val="4"/>
                <c:pt idx="0">
                  <c:v>286</c:v>
                </c:pt>
                <c:pt idx="1">
                  <c:v>250</c:v>
                </c:pt>
                <c:pt idx="2">
                  <c:v>359</c:v>
                </c:pt>
                <c:pt idx="3">
                  <c:v>98</c:v>
                </c:pt>
              </c:numCache>
            </c:numRef>
          </c:val>
          <c:extLst>
            <c:ext xmlns:c16="http://schemas.microsoft.com/office/drawing/2014/chart" uri="{C3380CC4-5D6E-409C-BE32-E72D297353CC}">
              <c16:uniqueId val="{00000002-316F-40CD-B6E3-F4B264B367E5}"/>
            </c:ext>
          </c:extLst>
        </c:ser>
        <c:dLbls>
          <c:showLegendKey val="0"/>
          <c:showVal val="0"/>
          <c:showCatName val="0"/>
          <c:showSerName val="0"/>
          <c:showPercent val="0"/>
          <c:showBubbleSize val="0"/>
        </c:dLbls>
        <c:gapWidth val="150"/>
        <c:overlap val="100"/>
        <c:axId val="503992456"/>
        <c:axId val="503994096"/>
        <c:extLst>
          <c:ext xmlns:c15="http://schemas.microsoft.com/office/drawing/2012/chart" uri="{02D57815-91ED-43cb-92C2-25804820EDAC}">
            <c15:filteredBarSeries>
              <c15:ser>
                <c:idx val="0"/>
                <c:order val="0"/>
                <c:tx>
                  <c:strRef>
                    <c:extLst>
                      <c:ext uri="{02D57815-91ED-43cb-92C2-25804820EDAC}">
                        <c15:formulaRef>
                          <c15:sqref>'Charts individueel'!$D$4</c15:sqref>
                        </c15:formulaRef>
                      </c:ext>
                    </c:extLst>
                    <c:strCache>
                      <c:ptCount val="1"/>
                      <c:pt idx="0">
                        <c:v>2018</c:v>
                      </c:pt>
                    </c:strCache>
                  </c:strRef>
                </c:tx>
                <c:spPr>
                  <a:gradFill rotWithShape="1">
                    <a:gsLst>
                      <a:gs pos="0">
                        <a:schemeClr val="accent5">
                          <a:shade val="58000"/>
                          <a:tint val="65000"/>
                          <a:shade val="92000"/>
                          <a:satMod val="130000"/>
                        </a:schemeClr>
                      </a:gs>
                      <a:gs pos="45000">
                        <a:schemeClr val="accent5">
                          <a:shade val="58000"/>
                          <a:tint val="60000"/>
                          <a:shade val="99000"/>
                          <a:satMod val="120000"/>
                        </a:schemeClr>
                      </a:gs>
                      <a:gs pos="100000">
                        <a:schemeClr val="accent5">
                          <a:shade val="58000"/>
                          <a:tint val="55000"/>
                          <a:satMod val="140000"/>
                        </a:schemeClr>
                      </a:gs>
                    </a:gsLst>
                    <a:path path="circle">
                      <a:fillToRect l="100000" t="100000" r="100000" b="100000"/>
                    </a:path>
                  </a:gradFill>
                  <a:ln w="9525" cap="flat" cmpd="sng" algn="ctr">
                    <a:solidFill>
                      <a:schemeClr val="accent5">
                        <a:shade val="58000"/>
                        <a:shade val="95000"/>
                      </a:schemeClr>
                    </a:solidFill>
                    <a:round/>
                  </a:ln>
                  <a:effectLst/>
                </c:spPr>
                <c:invertIfNegative val="0"/>
                <c:cat>
                  <c:strRef>
                    <c:extLst>
                      <c:ex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c:ext uri="{02D57815-91ED-43cb-92C2-25804820EDAC}">
                        <c15:formulaRef>
                          <c15:sqref>'Charts individueel'!$D$5:$D$8</c15:sqref>
                        </c15:formulaRef>
                      </c:ext>
                    </c:extLst>
                    <c:numCache>
                      <c:formatCode>General</c:formatCode>
                      <c:ptCount val="4"/>
                      <c:pt idx="0">
                        <c:v>250</c:v>
                      </c:pt>
                      <c:pt idx="1">
                        <c:v>300</c:v>
                      </c:pt>
                      <c:pt idx="2">
                        <c:v>350</c:v>
                      </c:pt>
                      <c:pt idx="3">
                        <c:v>56</c:v>
                      </c:pt>
                    </c:numCache>
                  </c:numRef>
                </c:val>
                <c:extLst>
                  <c:ext xmlns:c16="http://schemas.microsoft.com/office/drawing/2014/chart" uri="{C3380CC4-5D6E-409C-BE32-E72D297353CC}">
                    <c16:uniqueId val="{00000000-316F-40CD-B6E3-F4B264B367E5}"/>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Charts individueel'!$E$4</c15:sqref>
                        </c15:formulaRef>
                      </c:ext>
                    </c:extLst>
                    <c:strCache>
                      <c:ptCount val="1"/>
                      <c:pt idx="0">
                        <c:v>2019</c:v>
                      </c:pt>
                    </c:strCache>
                  </c:strRef>
                </c:tx>
                <c:spPr>
                  <a:gradFill rotWithShape="1">
                    <a:gsLst>
                      <a:gs pos="0">
                        <a:schemeClr val="accent5">
                          <a:shade val="86000"/>
                          <a:tint val="65000"/>
                          <a:shade val="92000"/>
                          <a:satMod val="130000"/>
                        </a:schemeClr>
                      </a:gs>
                      <a:gs pos="45000">
                        <a:schemeClr val="accent5">
                          <a:shade val="86000"/>
                          <a:tint val="60000"/>
                          <a:shade val="99000"/>
                          <a:satMod val="120000"/>
                        </a:schemeClr>
                      </a:gs>
                      <a:gs pos="100000">
                        <a:schemeClr val="accent5">
                          <a:shade val="86000"/>
                          <a:tint val="55000"/>
                          <a:satMod val="140000"/>
                        </a:schemeClr>
                      </a:gs>
                    </a:gsLst>
                    <a:path path="circle">
                      <a:fillToRect l="100000" t="100000" r="100000" b="100000"/>
                    </a:path>
                  </a:gradFill>
                  <a:ln w="9525" cap="flat" cmpd="sng" algn="ctr">
                    <a:solidFill>
                      <a:schemeClr val="accent5">
                        <a:shade val="86000"/>
                        <a:shade val="95000"/>
                      </a:schemeClr>
                    </a:solidFill>
                    <a:round/>
                  </a:ln>
                  <a:effectLst/>
                </c:spPr>
                <c:invertIfNegative val="0"/>
                <c:cat>
                  <c:strRef>
                    <c:extLst xmlns:c15="http://schemas.microsoft.com/office/drawing/2012/chart">
                      <c:ext xmlns:c15="http://schemas.microsoft.com/office/drawing/2012/char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xmlns:c15="http://schemas.microsoft.com/office/drawing/2012/chart">
                      <c:ext xmlns:c15="http://schemas.microsoft.com/office/drawing/2012/chart" uri="{02D57815-91ED-43cb-92C2-25804820EDAC}">
                        <c15:formulaRef>
                          <c15:sqref>'Charts individueel'!$E$5:$E$8</c15:sqref>
                        </c15:formulaRef>
                      </c:ext>
                    </c:extLst>
                    <c:numCache>
                      <c:formatCode>General</c:formatCode>
                      <c:ptCount val="4"/>
                      <c:pt idx="0">
                        <c:v>265</c:v>
                      </c:pt>
                      <c:pt idx="1">
                        <c:v>520</c:v>
                      </c:pt>
                      <c:pt idx="2">
                        <c:v>400</c:v>
                      </c:pt>
                      <c:pt idx="3">
                        <c:v>68</c:v>
                      </c:pt>
                    </c:numCache>
                  </c:numRef>
                </c:val>
                <c:extLst xmlns:c15="http://schemas.microsoft.com/office/drawing/2012/chart">
                  <c:ext xmlns:c16="http://schemas.microsoft.com/office/drawing/2014/chart" uri="{C3380CC4-5D6E-409C-BE32-E72D297353CC}">
                    <c16:uniqueId val="{00000001-316F-40CD-B6E3-F4B264B367E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Charts individueel'!$G$4</c15:sqref>
                        </c15:formulaRef>
                      </c:ext>
                    </c:extLst>
                    <c:strCache>
                      <c:ptCount val="1"/>
                      <c:pt idx="0">
                        <c:v>2021</c:v>
                      </c:pt>
                    </c:strCache>
                  </c:strRef>
                </c:tx>
                <c:spPr>
                  <a:gradFill rotWithShape="1">
                    <a:gsLst>
                      <a:gs pos="0">
                        <a:schemeClr val="accent5">
                          <a:tint val="58000"/>
                          <a:tint val="65000"/>
                          <a:shade val="92000"/>
                          <a:satMod val="130000"/>
                        </a:schemeClr>
                      </a:gs>
                      <a:gs pos="45000">
                        <a:schemeClr val="accent5">
                          <a:tint val="58000"/>
                          <a:tint val="60000"/>
                          <a:shade val="99000"/>
                          <a:satMod val="120000"/>
                        </a:schemeClr>
                      </a:gs>
                      <a:gs pos="100000">
                        <a:schemeClr val="accent5">
                          <a:tint val="58000"/>
                          <a:tint val="55000"/>
                          <a:satMod val="140000"/>
                        </a:schemeClr>
                      </a:gs>
                    </a:gsLst>
                    <a:path path="circle">
                      <a:fillToRect l="100000" t="100000" r="100000" b="100000"/>
                    </a:path>
                  </a:gradFill>
                  <a:ln w="9525" cap="flat" cmpd="sng" algn="ctr">
                    <a:solidFill>
                      <a:schemeClr val="accent5">
                        <a:tint val="58000"/>
                        <a:shade val="95000"/>
                      </a:schemeClr>
                    </a:solidFill>
                    <a:round/>
                  </a:ln>
                  <a:effectLst/>
                </c:spPr>
                <c:invertIfNegative val="0"/>
                <c:cat>
                  <c:strRef>
                    <c:extLst xmlns:c15="http://schemas.microsoft.com/office/drawing/2012/chart">
                      <c:ext xmlns:c15="http://schemas.microsoft.com/office/drawing/2012/char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xmlns:c15="http://schemas.microsoft.com/office/drawing/2012/chart">
                      <c:ext xmlns:c15="http://schemas.microsoft.com/office/drawing/2012/chart" uri="{02D57815-91ED-43cb-92C2-25804820EDAC}">
                        <c15:formulaRef>
                          <c15:sqref>'Charts individueel'!$G$5:$G$8</c15:sqref>
                        </c15:formulaRef>
                      </c:ext>
                    </c:extLst>
                    <c:numCache>
                      <c:formatCode>0</c:formatCode>
                      <c:ptCount val="4"/>
                      <c:pt idx="0">
                        <c:v>303</c:v>
                      </c:pt>
                      <c:pt idx="1">
                        <c:v>229.22018348623851</c:v>
                      </c:pt>
                      <c:pt idx="2">
                        <c:v>520</c:v>
                      </c:pt>
                      <c:pt idx="3">
                        <c:v>350</c:v>
                      </c:pt>
                    </c:numCache>
                  </c:numRef>
                </c:val>
                <c:extLst xmlns:c15="http://schemas.microsoft.com/office/drawing/2012/chart">
                  <c:ext xmlns:c16="http://schemas.microsoft.com/office/drawing/2014/chart" uri="{C3380CC4-5D6E-409C-BE32-E72D297353CC}">
                    <c16:uniqueId val="{00000003-316F-40CD-B6E3-F4B264B367E5}"/>
                  </c:ext>
                </c:extLst>
              </c15:ser>
            </c15:filteredBarSeries>
          </c:ext>
        </c:extLst>
      </c:barChart>
      <c:catAx>
        <c:axId val="503992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lumOff val="50000"/>
                  </a:schemeClr>
                </a:solidFill>
                <a:latin typeface="+mn-lt"/>
                <a:ea typeface="+mn-ea"/>
                <a:cs typeface="+mn-cs"/>
              </a:defRPr>
            </a:pPr>
            <a:endParaRPr lang="en-US"/>
          </a:p>
        </c:txPr>
        <c:crossAx val="503994096"/>
        <c:crosses val="autoZero"/>
        <c:auto val="1"/>
        <c:lblAlgn val="ctr"/>
        <c:lblOffset val="100"/>
        <c:noMultiLvlLbl val="0"/>
      </c:catAx>
      <c:valAx>
        <c:axId val="5039940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n-lt"/>
                <a:ea typeface="+mn-ea"/>
                <a:cs typeface="+mn-cs"/>
              </a:defRPr>
            </a:pPr>
            <a:endParaRPr lang="en-US"/>
          </a:p>
        </c:txPr>
        <c:crossAx val="503992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cap="none" spc="20" baseline="0">
                <a:solidFill>
                  <a:schemeClr val="tx1">
                    <a:lumMod val="50000"/>
                    <a:lumOff val="50000"/>
                  </a:schemeClr>
                </a:solidFill>
                <a:latin typeface="+mn-lt"/>
                <a:ea typeface="+mn-ea"/>
                <a:cs typeface="+mn-cs"/>
              </a:defRPr>
            </a:pPr>
            <a:r>
              <a:rPr lang="en-GB" sz="2400" dirty="0"/>
              <a:t>2021</a:t>
            </a:r>
          </a:p>
        </c:rich>
      </c:tx>
      <c:layout>
        <c:manualLayout>
          <c:xMode val="edge"/>
          <c:yMode val="edge"/>
          <c:x val="3.7278260324832606E-2"/>
          <c:y val="2.6048129559704571E-2"/>
        </c:manualLayout>
      </c:layout>
      <c:overlay val="0"/>
      <c:spPr>
        <a:noFill/>
        <a:ln>
          <a:noFill/>
        </a:ln>
        <a:effectLst/>
      </c:spPr>
      <c:txPr>
        <a:bodyPr rot="0" spcFirstLastPara="1" vertOverflow="ellipsis" vert="horz" wrap="square" anchor="ctr" anchorCtr="1"/>
        <a:lstStyle/>
        <a:p>
          <a:pPr>
            <a:defRPr sz="2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4739957313124069"/>
          <c:y val="0.17122191465586073"/>
          <c:w val="0.81315021153532174"/>
          <c:h val="0.59885687171854118"/>
        </c:manualLayout>
      </c:layout>
      <c:barChart>
        <c:barDir val="bar"/>
        <c:grouping val="stacked"/>
        <c:varyColors val="0"/>
        <c:ser>
          <c:idx val="3"/>
          <c:order val="3"/>
          <c:tx>
            <c:strRef>
              <c:f>'Charts individueel'!$G$4</c:f>
              <c:strCache>
                <c:ptCount val="1"/>
                <c:pt idx="0">
                  <c:v>2021</c:v>
                </c:pt>
              </c:strCache>
            </c:strRef>
          </c:tx>
          <c:spPr>
            <a:gradFill rotWithShape="1">
              <a:gsLst>
                <a:gs pos="0">
                  <a:schemeClr val="accent4">
                    <a:tint val="65000"/>
                    <a:shade val="92000"/>
                    <a:satMod val="130000"/>
                  </a:schemeClr>
                </a:gs>
                <a:gs pos="45000">
                  <a:schemeClr val="accent4">
                    <a:tint val="60000"/>
                    <a:shade val="99000"/>
                    <a:satMod val="120000"/>
                  </a:schemeClr>
                </a:gs>
                <a:gs pos="100000">
                  <a:schemeClr val="accent4">
                    <a:tint val="55000"/>
                    <a:satMod val="140000"/>
                  </a:schemeClr>
                </a:gs>
              </a:gsLst>
              <a:path path="circle">
                <a:fillToRect l="100000" t="100000" r="100000" b="100000"/>
              </a:path>
            </a:gradFill>
            <a:ln w="9525" cap="flat" cmpd="sng" algn="ctr">
              <a:solidFill>
                <a:schemeClr val="accent4">
                  <a:shade val="95000"/>
                </a:schemeClr>
              </a:solidFill>
              <a:round/>
            </a:ln>
            <a:effectLst/>
          </c:spPr>
          <c:invertIfNegative val="0"/>
          <c:dPt>
            <c:idx val="3"/>
            <c:invertIfNegative val="0"/>
            <c:bubble3D val="0"/>
            <c:spPr>
              <a:solidFill>
                <a:schemeClr val="accent6"/>
              </a:solidFill>
              <a:ln w="9525" cap="flat" cmpd="sng" algn="ctr">
                <a:solidFill>
                  <a:schemeClr val="accent4">
                    <a:shade val="95000"/>
                  </a:schemeClr>
                </a:solidFill>
                <a:round/>
              </a:ln>
              <a:effectLst/>
            </c:spPr>
            <c:extLst>
              <c:ext xmlns:c16="http://schemas.microsoft.com/office/drawing/2014/chart" uri="{C3380CC4-5D6E-409C-BE32-E72D297353CC}">
                <c16:uniqueId val="{00000000-5FF3-40C4-8782-9433C0BF92FD}"/>
              </c:ext>
            </c:extLst>
          </c:dPt>
          <c:cat>
            <c:strRef>
              <c:f>'Charts individueel'!$C$5:$C$8</c:f>
              <c:strCache>
                <c:ptCount val="4"/>
                <c:pt idx="0">
                  <c:v>Gent</c:v>
                </c:pt>
                <c:pt idx="1">
                  <c:v>Brussel</c:v>
                </c:pt>
                <c:pt idx="2">
                  <c:v>Antwerpen</c:v>
                </c:pt>
                <c:pt idx="3">
                  <c:v>Oostende</c:v>
                </c:pt>
              </c:strCache>
            </c:strRef>
          </c:cat>
          <c:val>
            <c:numRef>
              <c:f>'Charts individueel'!$G$5:$G$8</c:f>
              <c:numCache>
                <c:formatCode>0</c:formatCode>
                <c:ptCount val="4"/>
                <c:pt idx="0">
                  <c:v>303</c:v>
                </c:pt>
                <c:pt idx="1">
                  <c:v>229.22018348623851</c:v>
                </c:pt>
                <c:pt idx="2">
                  <c:v>520</c:v>
                </c:pt>
                <c:pt idx="3">
                  <c:v>350</c:v>
                </c:pt>
              </c:numCache>
            </c:numRef>
          </c:val>
          <c:extLst>
            <c:ext xmlns:c16="http://schemas.microsoft.com/office/drawing/2014/chart" uri="{C3380CC4-5D6E-409C-BE32-E72D297353CC}">
              <c16:uniqueId val="{00000003-8C65-48F9-8217-D8A1A1B14C84}"/>
            </c:ext>
          </c:extLst>
        </c:ser>
        <c:dLbls>
          <c:showLegendKey val="0"/>
          <c:showVal val="0"/>
          <c:showCatName val="0"/>
          <c:showSerName val="0"/>
          <c:showPercent val="0"/>
          <c:showBubbleSize val="0"/>
        </c:dLbls>
        <c:gapWidth val="150"/>
        <c:overlap val="100"/>
        <c:axId val="503992456"/>
        <c:axId val="503994096"/>
        <c:extLst>
          <c:ext xmlns:c15="http://schemas.microsoft.com/office/drawing/2012/chart" uri="{02D57815-91ED-43cb-92C2-25804820EDAC}">
            <c15:filteredBarSeries>
              <c15:ser>
                <c:idx val="0"/>
                <c:order val="0"/>
                <c:tx>
                  <c:strRef>
                    <c:extLst>
                      <c:ext uri="{02D57815-91ED-43cb-92C2-25804820EDAC}">
                        <c15:formulaRef>
                          <c15:sqref>'Charts individueel'!$D$4</c15:sqref>
                        </c15:formulaRef>
                      </c:ext>
                    </c:extLst>
                    <c:strCache>
                      <c:ptCount val="1"/>
                      <c:pt idx="0">
                        <c:v>2018</c:v>
                      </c:pt>
                    </c:strCache>
                  </c:strRef>
                </c:tx>
                <c:spPr>
                  <a:gradFill rotWithShape="1">
                    <a:gsLst>
                      <a:gs pos="0">
                        <a:schemeClr val="accent1">
                          <a:tint val="65000"/>
                          <a:shade val="92000"/>
                          <a:satMod val="130000"/>
                        </a:schemeClr>
                      </a:gs>
                      <a:gs pos="45000">
                        <a:schemeClr val="accent1">
                          <a:tint val="60000"/>
                          <a:shade val="99000"/>
                          <a:satMod val="120000"/>
                        </a:schemeClr>
                      </a:gs>
                      <a:gs pos="100000">
                        <a:schemeClr val="accent1">
                          <a:tint val="55000"/>
                          <a:satMod val="140000"/>
                        </a:schemeClr>
                      </a:gs>
                    </a:gsLst>
                    <a:path path="circle">
                      <a:fillToRect l="100000" t="100000" r="100000" b="100000"/>
                    </a:path>
                  </a:gradFill>
                  <a:ln w="9525" cap="flat" cmpd="sng" algn="ctr">
                    <a:solidFill>
                      <a:schemeClr val="accent1">
                        <a:shade val="95000"/>
                      </a:schemeClr>
                    </a:solidFill>
                    <a:round/>
                  </a:ln>
                  <a:effectLst/>
                </c:spPr>
                <c:invertIfNegative val="0"/>
                <c:cat>
                  <c:strRef>
                    <c:extLst>
                      <c:ex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c:ext uri="{02D57815-91ED-43cb-92C2-25804820EDAC}">
                        <c15:formulaRef>
                          <c15:sqref>'Charts individueel'!$D$5:$D$8</c15:sqref>
                        </c15:formulaRef>
                      </c:ext>
                    </c:extLst>
                    <c:numCache>
                      <c:formatCode>General</c:formatCode>
                      <c:ptCount val="4"/>
                      <c:pt idx="0">
                        <c:v>250</c:v>
                      </c:pt>
                      <c:pt idx="1">
                        <c:v>300</c:v>
                      </c:pt>
                      <c:pt idx="2">
                        <c:v>350</c:v>
                      </c:pt>
                      <c:pt idx="3">
                        <c:v>56</c:v>
                      </c:pt>
                    </c:numCache>
                  </c:numRef>
                </c:val>
                <c:extLst>
                  <c:ext xmlns:c16="http://schemas.microsoft.com/office/drawing/2014/chart" uri="{C3380CC4-5D6E-409C-BE32-E72D297353CC}">
                    <c16:uniqueId val="{00000000-8C65-48F9-8217-D8A1A1B14C84}"/>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Charts individueel'!$E$4</c15:sqref>
                        </c15:formulaRef>
                      </c:ext>
                    </c:extLst>
                    <c:strCache>
                      <c:ptCount val="1"/>
                      <c:pt idx="0">
                        <c:v>2019</c:v>
                      </c:pt>
                    </c:strCache>
                  </c:strRef>
                </c:tx>
                <c:spPr>
                  <a:gradFill rotWithShape="1">
                    <a:gsLst>
                      <a:gs pos="0">
                        <a:schemeClr val="accent2">
                          <a:tint val="65000"/>
                          <a:shade val="92000"/>
                          <a:satMod val="130000"/>
                        </a:schemeClr>
                      </a:gs>
                      <a:gs pos="45000">
                        <a:schemeClr val="accent2">
                          <a:tint val="60000"/>
                          <a:shade val="99000"/>
                          <a:satMod val="120000"/>
                        </a:schemeClr>
                      </a:gs>
                      <a:gs pos="100000">
                        <a:schemeClr val="accent2">
                          <a:tint val="55000"/>
                          <a:satMod val="140000"/>
                        </a:schemeClr>
                      </a:gs>
                    </a:gsLst>
                    <a:path path="circle">
                      <a:fillToRect l="100000" t="100000" r="100000" b="100000"/>
                    </a:path>
                  </a:gradFill>
                  <a:ln w="9525" cap="flat" cmpd="sng" algn="ctr">
                    <a:solidFill>
                      <a:schemeClr val="accent2">
                        <a:shade val="95000"/>
                      </a:schemeClr>
                    </a:solidFill>
                    <a:round/>
                  </a:ln>
                  <a:effectLst/>
                </c:spPr>
                <c:invertIfNegative val="0"/>
                <c:cat>
                  <c:strRef>
                    <c:extLst xmlns:c15="http://schemas.microsoft.com/office/drawing/2012/chart">
                      <c:ext xmlns:c15="http://schemas.microsoft.com/office/drawing/2012/char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xmlns:c15="http://schemas.microsoft.com/office/drawing/2012/chart">
                      <c:ext xmlns:c15="http://schemas.microsoft.com/office/drawing/2012/chart" uri="{02D57815-91ED-43cb-92C2-25804820EDAC}">
                        <c15:formulaRef>
                          <c15:sqref>'Charts individueel'!$E$5:$E$8</c15:sqref>
                        </c15:formulaRef>
                      </c:ext>
                    </c:extLst>
                    <c:numCache>
                      <c:formatCode>General</c:formatCode>
                      <c:ptCount val="4"/>
                      <c:pt idx="0">
                        <c:v>265</c:v>
                      </c:pt>
                      <c:pt idx="1">
                        <c:v>520</c:v>
                      </c:pt>
                      <c:pt idx="2">
                        <c:v>400</c:v>
                      </c:pt>
                      <c:pt idx="3">
                        <c:v>68</c:v>
                      </c:pt>
                    </c:numCache>
                  </c:numRef>
                </c:val>
                <c:extLst xmlns:c15="http://schemas.microsoft.com/office/drawing/2012/chart">
                  <c:ext xmlns:c16="http://schemas.microsoft.com/office/drawing/2014/chart" uri="{C3380CC4-5D6E-409C-BE32-E72D297353CC}">
                    <c16:uniqueId val="{00000001-8C65-48F9-8217-D8A1A1B14C84}"/>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Charts individueel'!$F$4</c15:sqref>
                        </c15:formulaRef>
                      </c:ext>
                    </c:extLst>
                    <c:strCache>
                      <c:ptCount val="1"/>
                      <c:pt idx="0">
                        <c:v>2020</c:v>
                      </c:pt>
                    </c:strCache>
                  </c:strRef>
                </c:tx>
                <c:spPr>
                  <a:gradFill rotWithShape="1">
                    <a:gsLst>
                      <a:gs pos="0">
                        <a:schemeClr val="accent3">
                          <a:tint val="65000"/>
                          <a:shade val="92000"/>
                          <a:satMod val="130000"/>
                        </a:schemeClr>
                      </a:gs>
                      <a:gs pos="45000">
                        <a:schemeClr val="accent3">
                          <a:tint val="60000"/>
                          <a:shade val="99000"/>
                          <a:satMod val="120000"/>
                        </a:schemeClr>
                      </a:gs>
                      <a:gs pos="100000">
                        <a:schemeClr val="accent3">
                          <a:tint val="55000"/>
                          <a:satMod val="140000"/>
                        </a:schemeClr>
                      </a:gs>
                    </a:gsLst>
                    <a:path path="circle">
                      <a:fillToRect l="100000" t="100000" r="100000" b="100000"/>
                    </a:path>
                  </a:gradFill>
                  <a:ln w="9525" cap="flat" cmpd="sng" algn="ctr">
                    <a:solidFill>
                      <a:schemeClr val="accent3">
                        <a:shade val="95000"/>
                      </a:schemeClr>
                    </a:solidFill>
                    <a:round/>
                  </a:ln>
                  <a:effectLst/>
                </c:spPr>
                <c:invertIfNegative val="0"/>
                <c:cat>
                  <c:strRef>
                    <c:extLst xmlns:c15="http://schemas.microsoft.com/office/drawing/2012/chart">
                      <c:ext xmlns:c15="http://schemas.microsoft.com/office/drawing/2012/chart" uri="{02D57815-91ED-43cb-92C2-25804820EDAC}">
                        <c15:formulaRef>
                          <c15:sqref>'Charts individueel'!$C$5:$C$8</c15:sqref>
                        </c15:formulaRef>
                      </c:ext>
                    </c:extLst>
                    <c:strCache>
                      <c:ptCount val="4"/>
                      <c:pt idx="0">
                        <c:v>Gent</c:v>
                      </c:pt>
                      <c:pt idx="1">
                        <c:v>Brussel</c:v>
                      </c:pt>
                      <c:pt idx="2">
                        <c:v>Antwerpen</c:v>
                      </c:pt>
                      <c:pt idx="3">
                        <c:v>Oostende</c:v>
                      </c:pt>
                    </c:strCache>
                  </c:strRef>
                </c:cat>
                <c:val>
                  <c:numRef>
                    <c:extLst xmlns:c15="http://schemas.microsoft.com/office/drawing/2012/chart">
                      <c:ext xmlns:c15="http://schemas.microsoft.com/office/drawing/2012/chart" uri="{02D57815-91ED-43cb-92C2-25804820EDAC}">
                        <c15:formulaRef>
                          <c15:sqref>'Charts individueel'!$F$5:$F$8</c15:sqref>
                        </c15:formulaRef>
                      </c:ext>
                    </c:extLst>
                    <c:numCache>
                      <c:formatCode>General</c:formatCode>
                      <c:ptCount val="4"/>
                      <c:pt idx="0">
                        <c:v>286</c:v>
                      </c:pt>
                      <c:pt idx="1">
                        <c:v>250</c:v>
                      </c:pt>
                      <c:pt idx="2">
                        <c:v>359</c:v>
                      </c:pt>
                      <c:pt idx="3">
                        <c:v>98</c:v>
                      </c:pt>
                    </c:numCache>
                  </c:numRef>
                </c:val>
                <c:extLst xmlns:c15="http://schemas.microsoft.com/office/drawing/2012/chart">
                  <c:ext xmlns:c16="http://schemas.microsoft.com/office/drawing/2014/chart" uri="{C3380CC4-5D6E-409C-BE32-E72D297353CC}">
                    <c16:uniqueId val="{00000002-8C65-48F9-8217-D8A1A1B14C84}"/>
                  </c:ext>
                </c:extLst>
              </c15:ser>
            </c15:filteredBarSeries>
          </c:ext>
        </c:extLst>
      </c:barChart>
      <c:catAx>
        <c:axId val="503992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lumOff val="50000"/>
                  </a:schemeClr>
                </a:solidFill>
                <a:latin typeface="+mn-lt"/>
                <a:ea typeface="+mn-ea"/>
                <a:cs typeface="+mn-cs"/>
              </a:defRPr>
            </a:pPr>
            <a:endParaRPr lang="en-US"/>
          </a:p>
        </c:txPr>
        <c:crossAx val="503994096"/>
        <c:crosses val="autoZero"/>
        <c:auto val="1"/>
        <c:lblAlgn val="ctr"/>
        <c:lblOffset val="100"/>
        <c:noMultiLvlLbl val="0"/>
      </c:catAx>
      <c:valAx>
        <c:axId val="50399409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50000"/>
                    <a:lumOff val="50000"/>
                  </a:schemeClr>
                </a:solidFill>
                <a:latin typeface="+mn-lt"/>
                <a:ea typeface="+mn-ea"/>
                <a:cs typeface="+mn-cs"/>
              </a:defRPr>
            </a:pPr>
            <a:endParaRPr lang="en-US"/>
          </a:p>
        </c:txPr>
        <c:crossAx val="503992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0" i="0" u="none" strike="noStrike" kern="1200" cap="none" spc="20" baseline="0">
                <a:solidFill>
                  <a:schemeClr val="tx1">
                    <a:lumMod val="50000"/>
                    <a:lumOff val="50000"/>
                  </a:schemeClr>
                </a:solidFill>
                <a:latin typeface="+mn-lt"/>
                <a:ea typeface="+mn-ea"/>
                <a:cs typeface="+mn-cs"/>
              </a:defRPr>
            </a:pPr>
            <a:r>
              <a:rPr lang="nl-BE" sz="2000" dirty="0" err="1"/>
              <a:t>Sold</a:t>
            </a:r>
            <a:r>
              <a:rPr lang="nl-BE" sz="2000" baseline="0" dirty="0"/>
              <a:t> pallets – </a:t>
            </a:r>
            <a:r>
              <a:rPr lang="nl-BE" sz="2000" baseline="0" dirty="0" err="1"/>
              <a:t>Growth</a:t>
            </a:r>
            <a:r>
              <a:rPr lang="nl-BE" sz="2000" baseline="0" dirty="0"/>
              <a:t> 2018-2021</a:t>
            </a:r>
            <a:endParaRPr lang="nl-BE" sz="2000" dirty="0"/>
          </a:p>
        </c:rich>
      </c:tx>
      <c:layout>
        <c:manualLayout>
          <c:xMode val="edge"/>
          <c:yMode val="edge"/>
          <c:x val="4.033960625861044E-3"/>
          <c:y val="1.2744309201623404E-2"/>
        </c:manualLayout>
      </c:layout>
      <c:overlay val="0"/>
      <c:spPr>
        <a:noFill/>
        <a:ln>
          <a:noFill/>
        </a:ln>
        <a:effectLst/>
      </c:spPr>
      <c:txPr>
        <a:bodyPr rot="0" spcFirstLastPara="1" vertOverflow="ellipsis" vert="horz" wrap="square" anchor="ctr" anchorCtr="1"/>
        <a:lstStyle/>
        <a:p>
          <a:pPr>
            <a:defRPr sz="20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barChart>
        <c:barDir val="col"/>
        <c:grouping val="stacked"/>
        <c:varyColors val="0"/>
        <c:ser>
          <c:idx val="0"/>
          <c:order val="0"/>
          <c:tx>
            <c:strRef>
              <c:f>'Charts individueel'!$C$5</c:f>
              <c:strCache>
                <c:ptCount val="1"/>
                <c:pt idx="0">
                  <c:v>Gent</c:v>
                </c:pt>
              </c:strCache>
            </c:strRef>
          </c:tx>
          <c:spPr>
            <a:gradFill rotWithShape="1">
              <a:gsLst>
                <a:gs pos="0">
                  <a:schemeClr val="accent1">
                    <a:tint val="70000"/>
                    <a:satMod val="180000"/>
                  </a:schemeClr>
                </a:gs>
                <a:gs pos="62000">
                  <a:schemeClr val="accent1">
                    <a:tint val="30000"/>
                    <a:satMod val="180000"/>
                  </a:schemeClr>
                </a:gs>
                <a:gs pos="100000">
                  <a:schemeClr val="accent1">
                    <a:tint val="22000"/>
                    <a:satMod val="180000"/>
                  </a:schemeClr>
                </a:gs>
              </a:gsLst>
              <a:lin ang="16200000" scaled="0"/>
            </a:gradFill>
            <a:ln w="9525" cap="flat" cmpd="sng" algn="ctr">
              <a:solidFill>
                <a:schemeClr val="accent1">
                  <a:shade val="95000"/>
                </a:schemeClr>
              </a:solidFill>
              <a:round/>
            </a:ln>
            <a:effectLst>
              <a:outerShdw blurRad="50800" dist="38100" dir="5400000" rotWithShape="0">
                <a:srgbClr val="000000">
                  <a:alpha val="43137"/>
                </a:srgbClr>
              </a:outerShdw>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5:$G$5</c:f>
              <c:numCache>
                <c:formatCode>General</c:formatCode>
                <c:ptCount val="4"/>
                <c:pt idx="0">
                  <c:v>250</c:v>
                </c:pt>
                <c:pt idx="1">
                  <c:v>265</c:v>
                </c:pt>
                <c:pt idx="2">
                  <c:v>286</c:v>
                </c:pt>
                <c:pt idx="3" formatCode="0">
                  <c:v>303</c:v>
                </c:pt>
              </c:numCache>
            </c:numRef>
          </c:val>
          <c:extLst>
            <c:ext xmlns:c16="http://schemas.microsoft.com/office/drawing/2014/chart" uri="{C3380CC4-5D6E-409C-BE32-E72D297353CC}">
              <c16:uniqueId val="{00000000-E920-44DB-AFE3-4EE38C643E37}"/>
            </c:ext>
          </c:extLst>
        </c:ser>
        <c:ser>
          <c:idx val="1"/>
          <c:order val="1"/>
          <c:tx>
            <c:strRef>
              <c:f>'Charts individueel'!$C$6</c:f>
              <c:strCache>
                <c:ptCount val="1"/>
                <c:pt idx="0">
                  <c:v>Brussel</c:v>
                </c:pt>
              </c:strCache>
            </c:strRef>
          </c:tx>
          <c:spPr>
            <a:gradFill rotWithShape="1">
              <a:gsLst>
                <a:gs pos="0">
                  <a:schemeClr val="accent2">
                    <a:tint val="70000"/>
                    <a:satMod val="180000"/>
                  </a:schemeClr>
                </a:gs>
                <a:gs pos="62000">
                  <a:schemeClr val="accent2">
                    <a:tint val="30000"/>
                    <a:satMod val="180000"/>
                  </a:schemeClr>
                </a:gs>
                <a:gs pos="100000">
                  <a:schemeClr val="accent2">
                    <a:tint val="22000"/>
                    <a:satMod val="180000"/>
                  </a:schemeClr>
                </a:gs>
              </a:gsLst>
              <a:lin ang="16200000" scaled="0"/>
            </a:gradFill>
            <a:ln w="9525" cap="flat" cmpd="sng" algn="ctr">
              <a:solidFill>
                <a:schemeClr val="accent2">
                  <a:shade val="95000"/>
                </a:schemeClr>
              </a:solidFill>
              <a:round/>
            </a:ln>
            <a:effectLst>
              <a:outerShdw blurRad="50800" dist="38100" dir="5400000" rotWithShape="0">
                <a:srgbClr val="000000">
                  <a:alpha val="43137"/>
                </a:srgbClr>
              </a:outerShdw>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6:$G$6</c:f>
              <c:numCache>
                <c:formatCode>General</c:formatCode>
                <c:ptCount val="4"/>
                <c:pt idx="0">
                  <c:v>300</c:v>
                </c:pt>
                <c:pt idx="1">
                  <c:v>520</c:v>
                </c:pt>
                <c:pt idx="2">
                  <c:v>250</c:v>
                </c:pt>
                <c:pt idx="3" formatCode="0">
                  <c:v>229.22018348623851</c:v>
                </c:pt>
              </c:numCache>
            </c:numRef>
          </c:val>
          <c:extLst>
            <c:ext xmlns:c16="http://schemas.microsoft.com/office/drawing/2014/chart" uri="{C3380CC4-5D6E-409C-BE32-E72D297353CC}">
              <c16:uniqueId val="{00000001-E920-44DB-AFE3-4EE38C643E37}"/>
            </c:ext>
          </c:extLst>
        </c:ser>
        <c:ser>
          <c:idx val="2"/>
          <c:order val="2"/>
          <c:tx>
            <c:strRef>
              <c:f>'Charts individueel'!$C$7</c:f>
              <c:strCache>
                <c:ptCount val="1"/>
                <c:pt idx="0">
                  <c:v>Antwerpen</c:v>
                </c:pt>
              </c:strCache>
            </c:strRef>
          </c:tx>
          <c:spPr>
            <a:gradFill rotWithShape="1">
              <a:gsLst>
                <a:gs pos="0">
                  <a:schemeClr val="accent3">
                    <a:tint val="70000"/>
                    <a:satMod val="180000"/>
                  </a:schemeClr>
                </a:gs>
                <a:gs pos="62000">
                  <a:schemeClr val="accent3">
                    <a:tint val="30000"/>
                    <a:satMod val="180000"/>
                  </a:schemeClr>
                </a:gs>
                <a:gs pos="100000">
                  <a:schemeClr val="accent3">
                    <a:tint val="22000"/>
                    <a:satMod val="180000"/>
                  </a:schemeClr>
                </a:gs>
              </a:gsLst>
              <a:lin ang="16200000" scaled="0"/>
            </a:gradFill>
            <a:ln w="9525" cap="flat" cmpd="sng" algn="ctr">
              <a:solidFill>
                <a:schemeClr val="accent3">
                  <a:shade val="95000"/>
                </a:schemeClr>
              </a:solidFill>
              <a:round/>
            </a:ln>
            <a:effectLst>
              <a:outerShdw blurRad="50800" dist="38100" dir="5400000" rotWithShape="0">
                <a:srgbClr val="000000">
                  <a:alpha val="43137"/>
                </a:srgbClr>
              </a:outerShdw>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7:$G$7</c:f>
              <c:numCache>
                <c:formatCode>General</c:formatCode>
                <c:ptCount val="4"/>
                <c:pt idx="0">
                  <c:v>350</c:v>
                </c:pt>
                <c:pt idx="1">
                  <c:v>400</c:v>
                </c:pt>
                <c:pt idx="2">
                  <c:v>359</c:v>
                </c:pt>
                <c:pt idx="3" formatCode="0">
                  <c:v>320</c:v>
                </c:pt>
              </c:numCache>
            </c:numRef>
          </c:val>
          <c:extLst>
            <c:ext xmlns:c16="http://schemas.microsoft.com/office/drawing/2014/chart" uri="{C3380CC4-5D6E-409C-BE32-E72D297353CC}">
              <c16:uniqueId val="{00000002-E920-44DB-AFE3-4EE38C643E37}"/>
            </c:ext>
          </c:extLst>
        </c:ser>
        <c:ser>
          <c:idx val="3"/>
          <c:order val="3"/>
          <c:tx>
            <c:strRef>
              <c:f>'Charts individueel'!$C$8</c:f>
              <c:strCache>
                <c:ptCount val="1"/>
                <c:pt idx="0">
                  <c:v>Oostende</c:v>
                </c:pt>
              </c:strCache>
            </c:strRef>
          </c:tx>
          <c:spPr>
            <a:gradFill rotWithShape="1">
              <a:gsLst>
                <a:gs pos="0">
                  <a:schemeClr val="accent4">
                    <a:tint val="70000"/>
                    <a:satMod val="180000"/>
                  </a:schemeClr>
                </a:gs>
                <a:gs pos="62000">
                  <a:schemeClr val="accent4">
                    <a:tint val="30000"/>
                    <a:satMod val="180000"/>
                  </a:schemeClr>
                </a:gs>
                <a:gs pos="100000">
                  <a:schemeClr val="accent4">
                    <a:tint val="22000"/>
                    <a:satMod val="180000"/>
                  </a:schemeClr>
                </a:gs>
              </a:gsLst>
              <a:lin ang="16200000" scaled="0"/>
            </a:gradFill>
            <a:ln w="9525" cap="flat" cmpd="sng" algn="ctr">
              <a:solidFill>
                <a:schemeClr val="accent4">
                  <a:shade val="95000"/>
                </a:schemeClr>
              </a:solidFill>
              <a:round/>
            </a:ln>
            <a:effectLst>
              <a:outerShdw blurRad="50800" dist="38100" dir="5400000" rotWithShape="0">
                <a:srgbClr val="000000">
                  <a:alpha val="43137"/>
                </a:srgbClr>
              </a:outerShdw>
            </a:effectLst>
          </c:spPr>
          <c:invertIfNegative val="0"/>
          <c:cat>
            <c:numRef>
              <c:f>'Charts individueel'!$D$4:$G$4</c:f>
              <c:numCache>
                <c:formatCode>General</c:formatCode>
                <c:ptCount val="4"/>
                <c:pt idx="0">
                  <c:v>2018</c:v>
                </c:pt>
                <c:pt idx="1">
                  <c:v>2019</c:v>
                </c:pt>
                <c:pt idx="2">
                  <c:v>2020</c:v>
                </c:pt>
                <c:pt idx="3">
                  <c:v>2021</c:v>
                </c:pt>
              </c:numCache>
            </c:numRef>
          </c:cat>
          <c:val>
            <c:numRef>
              <c:f>'Charts individueel'!$D$8:$G$8</c:f>
              <c:numCache>
                <c:formatCode>General</c:formatCode>
                <c:ptCount val="4"/>
                <c:pt idx="0">
                  <c:v>56</c:v>
                </c:pt>
                <c:pt idx="1">
                  <c:v>68</c:v>
                </c:pt>
                <c:pt idx="2">
                  <c:v>98</c:v>
                </c:pt>
                <c:pt idx="3" formatCode="0">
                  <c:v>250</c:v>
                </c:pt>
              </c:numCache>
            </c:numRef>
          </c:val>
          <c:extLst>
            <c:ext xmlns:c16="http://schemas.microsoft.com/office/drawing/2014/chart" uri="{C3380CC4-5D6E-409C-BE32-E72D297353CC}">
              <c16:uniqueId val="{00000003-E920-44DB-AFE3-4EE38C643E37}"/>
            </c:ext>
          </c:extLst>
        </c:ser>
        <c:dLbls>
          <c:showLegendKey val="0"/>
          <c:showVal val="0"/>
          <c:showCatName val="0"/>
          <c:showSerName val="0"/>
          <c:showPercent val="0"/>
          <c:showBubbleSize val="0"/>
        </c:dLbls>
        <c:gapWidth val="150"/>
        <c:overlap val="100"/>
        <c:axId val="503992456"/>
        <c:axId val="503994096"/>
      </c:barChart>
      <c:lineChart>
        <c:grouping val="standard"/>
        <c:varyColors val="0"/>
        <c:ser>
          <c:idx val="4"/>
          <c:order val="4"/>
          <c:tx>
            <c:strRef>
              <c:f>'Charts individueel'!$C$9</c:f>
              <c:strCache>
                <c:ptCount val="1"/>
                <c:pt idx="0">
                  <c:v>Totalen</c:v>
                </c:pt>
              </c:strCache>
            </c:strRef>
          </c:tx>
          <c:spPr>
            <a:ln w="15875" cap="rnd">
              <a:noFill/>
              <a:round/>
            </a:ln>
            <a:effectLst>
              <a:outerShdw blurRad="50800" dist="38100" dir="5400000" rotWithShape="0">
                <a:srgbClr val="000000">
                  <a:alpha val="43137"/>
                </a:srgbClr>
              </a:outerShdw>
            </a:effectLst>
          </c:spPr>
          <c:marker>
            <c:symbol val="none"/>
          </c:marker>
          <c:dLbls>
            <c:dLbl>
              <c:idx val="0"/>
              <c:layout>
                <c:manualLayout>
                  <c:x val="-3.3320847040827058E-2"/>
                  <c:y val="-8.16439181358362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61C-440C-804B-EBF25FB665E6}"/>
                </c:ext>
              </c:extLst>
            </c:dLbl>
            <c:dLbl>
              <c:idx val="1"/>
              <c:layout>
                <c:manualLayout>
                  <c:x val="-4.1282817659901605E-2"/>
                  <c:y val="-4.28489212852568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920-44DB-AFE3-4EE38C643E37}"/>
                </c:ext>
              </c:extLst>
            </c:dLbl>
            <c:dLbl>
              <c:idx val="2"/>
              <c:layout>
                <c:manualLayout>
                  <c:x val="-4.327331031467032E-2"/>
                  <c:y val="-9.32824171910100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61C-440C-804B-EBF25FB665E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50000"/>
                        <a:lumOff val="50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spPr>
              <a:ln w="28575" cap="flat" cmpd="sng" algn="ctr">
                <a:solidFill>
                  <a:schemeClr val="accent6">
                    <a:shade val="80000"/>
                  </a:schemeClr>
                </a:solidFill>
                <a:prstDash val="solid"/>
              </a:ln>
              <a:effectLst/>
            </c:spPr>
            <c:trendlineType val="linear"/>
            <c:dispRSqr val="0"/>
            <c:dispEq val="0"/>
          </c:trendline>
          <c:cat>
            <c:numRef>
              <c:f>'Charts individueel'!$D$4:$G$4</c:f>
              <c:numCache>
                <c:formatCode>General</c:formatCode>
                <c:ptCount val="4"/>
                <c:pt idx="0">
                  <c:v>2018</c:v>
                </c:pt>
                <c:pt idx="1">
                  <c:v>2019</c:v>
                </c:pt>
                <c:pt idx="2">
                  <c:v>2020</c:v>
                </c:pt>
                <c:pt idx="3">
                  <c:v>2021</c:v>
                </c:pt>
              </c:numCache>
            </c:numRef>
          </c:cat>
          <c:val>
            <c:numRef>
              <c:f>'Charts individueel'!$D$9:$G$9</c:f>
              <c:numCache>
                <c:formatCode>0</c:formatCode>
                <c:ptCount val="4"/>
                <c:pt idx="0">
                  <c:v>956</c:v>
                </c:pt>
                <c:pt idx="1">
                  <c:v>1253</c:v>
                </c:pt>
                <c:pt idx="2">
                  <c:v>993</c:v>
                </c:pt>
                <c:pt idx="3">
                  <c:v>1102.2201834862385</c:v>
                </c:pt>
              </c:numCache>
            </c:numRef>
          </c:val>
          <c:smooth val="0"/>
          <c:extLst>
            <c:ext xmlns:c16="http://schemas.microsoft.com/office/drawing/2014/chart" uri="{C3380CC4-5D6E-409C-BE32-E72D297353CC}">
              <c16:uniqueId val="{00000006-E920-44DB-AFE3-4EE38C643E37}"/>
            </c:ext>
          </c:extLst>
        </c:ser>
        <c:dLbls>
          <c:showLegendKey val="0"/>
          <c:showVal val="0"/>
          <c:showCatName val="0"/>
          <c:showSerName val="0"/>
          <c:showPercent val="0"/>
          <c:showBubbleSize val="0"/>
        </c:dLbls>
        <c:marker val="1"/>
        <c:smooth val="0"/>
        <c:axId val="1741478336"/>
        <c:axId val="1741475936"/>
      </c:lineChart>
      <c:catAx>
        <c:axId val="50399245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ctr">
              <a:defRPr lang="en-US" sz="1100" b="0" i="0" u="none" strike="noStrike" kern="1200" baseline="0">
                <a:solidFill>
                  <a:schemeClr val="bg1">
                    <a:lumMod val="65000"/>
                  </a:schemeClr>
                </a:solidFill>
                <a:latin typeface="+mn-lt"/>
                <a:ea typeface="+mn-ea"/>
                <a:cs typeface="+mn-cs"/>
              </a:defRPr>
            </a:pPr>
            <a:endParaRPr lang="en-US"/>
          </a:p>
        </c:txPr>
        <c:crossAx val="503994096"/>
        <c:crosses val="autoZero"/>
        <c:auto val="1"/>
        <c:lblAlgn val="ctr"/>
        <c:lblOffset val="100"/>
        <c:noMultiLvlLbl val="0"/>
      </c:catAx>
      <c:valAx>
        <c:axId val="503994096"/>
        <c:scaling>
          <c:orientation val="minMax"/>
        </c:scaling>
        <c:delete val="1"/>
        <c:axPos val="l"/>
        <c:numFmt formatCode="General" sourceLinked="1"/>
        <c:majorTickMark val="none"/>
        <c:minorTickMark val="none"/>
        <c:tickLblPos val="nextTo"/>
        <c:crossAx val="503992456"/>
        <c:crosses val="autoZero"/>
        <c:crossBetween val="between"/>
        <c:majorUnit val="400"/>
      </c:valAx>
      <c:valAx>
        <c:axId val="1741475936"/>
        <c:scaling>
          <c:orientation val="minMax"/>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1741478336"/>
        <c:crosses val="max"/>
        <c:crossBetween val="between"/>
      </c:valAx>
      <c:catAx>
        <c:axId val="1741478336"/>
        <c:scaling>
          <c:orientation val="minMax"/>
        </c:scaling>
        <c:delete val="1"/>
        <c:axPos val="b"/>
        <c:numFmt formatCode="General" sourceLinked="1"/>
        <c:majorTickMark val="out"/>
        <c:minorTickMark val="none"/>
        <c:tickLblPos val="nextTo"/>
        <c:crossAx val="1741475936"/>
        <c:crosses val="autoZero"/>
        <c:auto val="1"/>
        <c:lblAlgn val="ctr"/>
        <c:lblOffset val="100"/>
        <c:noMultiLvlLbl val="0"/>
      </c:catAx>
      <c:spPr>
        <a:noFill/>
        <a:ln>
          <a:noFill/>
        </a:ln>
        <a:effectLst/>
      </c:spPr>
    </c:plotArea>
    <c:legend>
      <c:legendPos val="b"/>
      <c:legendEntry>
        <c:idx val="4"/>
        <c:delete val="1"/>
      </c:legendEntry>
      <c:legendEntry>
        <c:idx val="5"/>
        <c:delete val="1"/>
      </c:legendEntry>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50000"/>
                  <a:lumOff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6">
  <a:schemeClr val="accent3"/>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8">
  <a:schemeClr val="accent5"/>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1">
  <cs:axisTitle>
    <cs:lnRef idx="0"/>
    <cs:fillRef idx="0"/>
    <cs:effectRef idx="0"/>
    <cs:fontRef idx="minor">
      <a:schemeClr val="tx1">
        <a:lumMod val="50000"/>
        <a:lumOff val="50000"/>
      </a:schemeClr>
    </cs:fontRef>
    <cs:defRPr sz="1197" kern="1200"/>
  </cs:axisTitle>
  <cs:categoryAxis>
    <cs:lnRef idx="0"/>
    <cs:fillRef idx="0"/>
    <cs:effectRef idx="0"/>
    <cs:fontRef idx="minor">
      <a:schemeClr val="tx1">
        <a:lumMod val="50000"/>
        <a:lumOff val="50000"/>
      </a:schemeClr>
    </cs:fontRef>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bg1"/>
    </cs:fontRef>
    <cs:spPr>
      <a:solidFill>
        <a:schemeClr val="tx1">
          <a:lumMod val="35000"/>
          <a:lumOff val="65000"/>
        </a:schemeClr>
      </a:solidFill>
    </cs:spPr>
    <cs:defRPr sz="1197"/>
    <cs:bodyPr rot="0" spcFirstLastPara="1" vertOverflow="clip" horzOverflow="clip" vert="horz" wrap="square" lIns="36576" tIns="18288" rIns="36576" bIns="18288" anchor="ctr" anchorCtr="1">
      <a:spAutoFit/>
    </cs:bodyPr>
  </cs:dataLabelCallout>
  <cs:dataPoint>
    <cs:lnRef idx="0">
      <cs:styleClr val="auto"/>
    </cs:lnRef>
    <cs:fillRef idx="0"/>
    <cs:effectRef idx="0"/>
    <cs:fontRef idx="minor">
      <a:schemeClr val="dk1"/>
    </cs:fontRef>
    <cs:spPr>
      <a:noFill/>
      <a:ln w="25400" cap="flat" cmpd="sng" algn="ctr">
        <a:solidFill>
          <a:schemeClr val="phClr"/>
        </a:solidFill>
        <a:miter lim="800000"/>
      </a:ln>
    </cs:spPr>
  </cs:dataPoint>
  <cs:dataPoint3D>
    <cs:lnRef idx="0">
      <cs:styleClr val="auto"/>
    </cs:lnRef>
    <cs:fillRef idx="0">
      <cs:styleClr val="auto"/>
    </cs:fillRef>
    <cs:effectRef idx="0"/>
    <cs:fontRef idx="minor">
      <a:schemeClr val="dk1"/>
    </cs:fontRef>
    <cs:spPr>
      <a:ln w="19050" cap="flat" cmpd="sng" algn="ctr">
        <a:solidFill>
          <a:schemeClr val="phClr"/>
        </a:solidFill>
        <a:miter lim="800000"/>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ln w="19050" cap="rnd">
        <a:solidFill>
          <a:schemeClr val="phClr"/>
        </a:solidFill>
        <a:round/>
      </a:ln>
    </cs:spPr>
  </cs:dataPointMarker>
  <cs:dataPointMarkerLayout symbol="circle" size="6"/>
  <cs:dataPointWireframe>
    <cs:lnRef idx="0">
      <cs:styleClr val="auto"/>
    </cs:lnRef>
    <cs:fillRef idx="1"/>
    <cs:effectRef idx="0"/>
    <cs:fontRef idx="minor">
      <a:schemeClr val="tx1"/>
    </cs:fontRef>
    <cs:spPr>
      <a:ln w="9525">
        <a:solidFill>
          <a:schemeClr val="phClr"/>
        </a:solidFill>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tx1">
            <a:lumMod val="50000"/>
            <a:lumOff val="50000"/>
          </a:schemeClr>
        </a:solidFill>
        <a:round/>
      </a:ln>
    </cs:spPr>
  </cs:downBar>
  <cs:dropLine>
    <cs:lnRef idx="0"/>
    <cs:fillRef idx="0"/>
    <cs:effectRef idx="0"/>
    <cs:fontRef idx="minor">
      <a:schemeClr val="dk1"/>
    </cs:fontRef>
    <cs:spPr>
      <a:ln w="9525" cap="flat" cmpd="sng" algn="ctr">
        <a:solidFill>
          <a:schemeClr val="tx1">
            <a:lumMod val="35000"/>
            <a:lumOff val="65000"/>
          </a:schemeClr>
        </a:solidFill>
        <a:round/>
      </a:ln>
    </cs:spPr>
  </cs:dropLine>
  <cs:errorBar>
    <cs:lnRef idx="0"/>
    <cs:fillRef idx="0"/>
    <cs:effectRef idx="0"/>
    <cs:fontRef idx="minor">
      <a:schemeClr val="dk1"/>
    </cs:fontRef>
    <cs:spPr>
      <a:ln w="9525" cap="flat" cmpd="sng" algn="ctr">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a:solidFill>
          <a:schemeClr val="tx1">
            <a:lumMod val="15000"/>
            <a:lumOff val="85000"/>
          </a:schemeClr>
        </a:solidFill>
      </a:ln>
    </cs:spPr>
  </cs:gridlineMajor>
  <cs:gridlineMinor>
    <cs:lnRef idx="0"/>
    <cs:fillRef idx="0"/>
    <cs:effectRef idx="0"/>
    <cs:fontRef idx="minor">
      <a:schemeClr val="dk1"/>
    </cs:fontRef>
    <cs:spPr>
      <a:ln w="9525">
        <a:solidFill>
          <a:schemeClr val="tx1">
            <a:lumMod val="5000"/>
            <a:lumOff val="95000"/>
          </a:schemeClr>
        </a:solidFill>
      </a:ln>
    </cs:spPr>
  </cs:gridlineMinor>
  <cs:hiLoLine>
    <cs:lnRef idx="0"/>
    <cs:fillRef idx="0"/>
    <cs:effectRef idx="0"/>
    <cs:fontRef idx="minor">
      <a:schemeClr val="dk1"/>
    </cs:fontRef>
    <cs:spPr>
      <a:ln w="9525" cap="flat" cmpd="sng" algn="ctr">
        <a:solidFill>
          <a:schemeClr val="tx1">
            <a:lumMod val="35000"/>
            <a:lumOff val="65000"/>
          </a:schemeClr>
        </a:solidFill>
        <a:round/>
      </a:ln>
    </cs:spPr>
  </cs:hiLoLine>
  <cs:leaderLine>
    <cs:lnRef idx="0"/>
    <cs:fillRef idx="0"/>
    <cs:effectRef idx="0"/>
    <cs:fontRef idx="minor">
      <a:schemeClr val="dk1"/>
    </cs:fontRef>
    <cs:spPr>
      <a:ln w="9525" cap="flat" cmpd="sng" algn="ctr">
        <a:solidFill>
          <a:schemeClr val="tx1">
            <a:lumMod val="35000"/>
            <a:lumOff val="65000"/>
          </a:schemeClr>
        </a:solidFill>
        <a:round/>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defRPr sz="1197" kern="1200"/>
  </cs:seriesAxis>
  <cs:seriesLine>
    <cs:lnRef idx="0"/>
    <cs:fillRef idx="0"/>
    <cs:effectRef idx="0"/>
    <cs:fontRef idx="minor">
      <a:schemeClr val="dk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200" b="0" kern="1200" cap="none" spc="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cap="flat" cmpd="sng" algn="ctr">
        <a:solidFill>
          <a:schemeClr val="tx1">
            <a:lumMod val="50000"/>
            <a:lumOff val="50000"/>
          </a:schemeClr>
        </a:solidFill>
        <a:round/>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diagrams/_rels/data6.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diagrams/_rels/data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hyperlink" Target="http://www.brico.be/" TargetMode="External"/></Relationships>
</file>

<file path=ppt/diagrams/_rels/data8.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diagrams/_rels/drawing6.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diagrams/_rels/drawing7.xml.rels><?xml version="1.0" encoding="UTF-8" standalone="yes"?>
<Relationships xmlns="http://schemas.openxmlformats.org/package/2006/relationships"><Relationship Id="rId3" Type="http://schemas.openxmlformats.org/officeDocument/2006/relationships/hyperlink" Target="http://www.brico.be/" TargetMode="External"/><Relationship Id="rId2" Type="http://schemas.openxmlformats.org/officeDocument/2006/relationships/image" Target="../media/image37.svg"/><Relationship Id="rId1" Type="http://schemas.openxmlformats.org/officeDocument/2006/relationships/image" Target="../media/image36.png"/></Relationships>
</file>

<file path=ppt/diagrams/_rels/drawing8.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image" Target="../media/image39.svg"/><Relationship Id="rId1" Type="http://schemas.openxmlformats.org/officeDocument/2006/relationships/image" Target="../media/image38.png"/><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8ADE38-B7EE-49CD-B2DE-092F941A5DAF}" type="doc">
      <dgm:prSet loTypeId="urn:microsoft.com/office/officeart/2008/layout/AlternatingPictureBlocks" loCatId="list" qsTypeId="urn:microsoft.com/office/officeart/2005/8/quickstyle/simple1" qsCatId="simple" csTypeId="urn:microsoft.com/office/officeart/2005/8/colors/colorful1" csCatId="colorful" phldr="1"/>
      <dgm:spPr/>
      <dgm:t>
        <a:bodyPr/>
        <a:lstStyle/>
        <a:p>
          <a:endParaRPr lang="en-GB"/>
        </a:p>
      </dgm:t>
    </dgm:pt>
    <dgm:pt modelId="{23F13034-DB5C-47E5-AFB6-70A4CCE0C74A}">
      <dgm:prSet/>
      <dgm:spPr/>
      <dgm:t>
        <a:bodyPr/>
        <a:lstStyle/>
        <a:p>
          <a:r>
            <a:rPr lang="en-GB"/>
            <a:t>You are the presentor and creator</a:t>
          </a:r>
        </a:p>
      </dgm:t>
    </dgm:pt>
    <dgm:pt modelId="{1136112E-5B2B-46F0-BAC4-91CA0B986DBD}" type="parTrans" cxnId="{09EEEB36-B342-4057-89E0-D2C0DA09F485}">
      <dgm:prSet/>
      <dgm:spPr/>
      <dgm:t>
        <a:bodyPr/>
        <a:lstStyle/>
        <a:p>
          <a:endParaRPr lang="en-GB"/>
        </a:p>
      </dgm:t>
    </dgm:pt>
    <dgm:pt modelId="{8FB52787-054D-4BB5-8655-C8D4AF0AB9BC}" type="sibTrans" cxnId="{09EEEB36-B342-4057-89E0-D2C0DA09F485}">
      <dgm:prSet/>
      <dgm:spPr/>
      <dgm:t>
        <a:bodyPr/>
        <a:lstStyle/>
        <a:p>
          <a:endParaRPr lang="en-GB"/>
        </a:p>
      </dgm:t>
    </dgm:pt>
    <dgm:pt modelId="{FA5FFA3C-103D-4E48-ABCA-94415EB08412}">
      <dgm:prSet/>
      <dgm:spPr/>
      <dgm:t>
        <a:bodyPr/>
        <a:lstStyle/>
        <a:p>
          <a:r>
            <a:rPr lang="en-GB"/>
            <a:t>Death by PWP !</a:t>
          </a:r>
        </a:p>
      </dgm:t>
    </dgm:pt>
    <dgm:pt modelId="{0EAC1FAF-69A7-41E8-B039-A97015FB5314}" type="parTrans" cxnId="{5E7D2151-CB42-4713-9425-4A8E1842D6CF}">
      <dgm:prSet/>
      <dgm:spPr/>
      <dgm:t>
        <a:bodyPr/>
        <a:lstStyle/>
        <a:p>
          <a:endParaRPr lang="en-GB"/>
        </a:p>
      </dgm:t>
    </dgm:pt>
    <dgm:pt modelId="{D132942B-FF2C-40D3-BE56-EA43A2472B27}" type="sibTrans" cxnId="{5E7D2151-CB42-4713-9425-4A8E1842D6CF}">
      <dgm:prSet/>
      <dgm:spPr/>
      <dgm:t>
        <a:bodyPr/>
        <a:lstStyle/>
        <a:p>
          <a:endParaRPr lang="en-GB"/>
        </a:p>
      </dgm:t>
    </dgm:pt>
    <dgm:pt modelId="{6D1C2E0F-F36F-438C-A1E2-ECF3730E3CE9}">
      <dgm:prSet/>
      <dgm:spPr/>
      <dgm:t>
        <a:bodyPr/>
        <a:lstStyle/>
        <a:p>
          <a:r>
            <a:rPr lang="fr-BE"/>
            <a:t>Drawing on a flipchart – the old school</a:t>
          </a:r>
          <a:endParaRPr lang="en-GB"/>
        </a:p>
      </dgm:t>
    </dgm:pt>
    <dgm:pt modelId="{39273933-5344-4F05-BC73-6342F7245A8D}" type="parTrans" cxnId="{70D64D1E-FF7C-438E-83A9-BAFFC873767C}">
      <dgm:prSet/>
      <dgm:spPr/>
      <dgm:t>
        <a:bodyPr/>
        <a:lstStyle/>
        <a:p>
          <a:endParaRPr lang="en-GB"/>
        </a:p>
      </dgm:t>
    </dgm:pt>
    <dgm:pt modelId="{D052A83F-0E9D-47C6-BC16-4FFC4292E255}" type="sibTrans" cxnId="{70D64D1E-FF7C-438E-83A9-BAFFC873767C}">
      <dgm:prSet/>
      <dgm:spPr/>
      <dgm:t>
        <a:bodyPr/>
        <a:lstStyle/>
        <a:p>
          <a:endParaRPr lang="en-GB"/>
        </a:p>
      </dgm:t>
    </dgm:pt>
    <dgm:pt modelId="{8BB22A01-39EA-4E61-B22C-05A8622EB066}">
      <dgm:prSet/>
      <dgm:spPr/>
      <dgm:t>
        <a:bodyPr/>
        <a:lstStyle/>
        <a:p>
          <a:r>
            <a:rPr lang="fr-BE"/>
            <a:t>Room setup</a:t>
          </a:r>
          <a:endParaRPr lang="en-GB"/>
        </a:p>
      </dgm:t>
    </dgm:pt>
    <dgm:pt modelId="{4DCAF5E6-4ACE-450B-89D5-6A23DB71EE58}" type="parTrans" cxnId="{1A9FBC6E-857A-48BA-A3B8-7F31BF1F1E2E}">
      <dgm:prSet/>
      <dgm:spPr/>
      <dgm:t>
        <a:bodyPr/>
        <a:lstStyle/>
        <a:p>
          <a:endParaRPr lang="en-GB"/>
        </a:p>
      </dgm:t>
    </dgm:pt>
    <dgm:pt modelId="{D1F3F660-0575-46E9-9F7C-E6C7BA6A131B}" type="sibTrans" cxnId="{1A9FBC6E-857A-48BA-A3B8-7F31BF1F1E2E}">
      <dgm:prSet/>
      <dgm:spPr/>
      <dgm:t>
        <a:bodyPr/>
        <a:lstStyle/>
        <a:p>
          <a:endParaRPr lang="en-GB"/>
        </a:p>
      </dgm:t>
    </dgm:pt>
    <dgm:pt modelId="{E78D8D99-F0AA-41B0-BACA-17D9100AEC09}">
      <dgm:prSet/>
      <dgm:spPr/>
      <dgm:t>
        <a:bodyPr/>
        <a:lstStyle/>
        <a:p>
          <a:r>
            <a:rPr lang="en-GB"/>
            <a:t>Power to your point</a:t>
          </a:r>
        </a:p>
      </dgm:t>
    </dgm:pt>
    <dgm:pt modelId="{DEB8E334-86F8-43EF-B253-5A07F522C6C4}" type="parTrans" cxnId="{17C6C2CF-DC49-4B8C-8FCA-944FC70F71F8}">
      <dgm:prSet/>
      <dgm:spPr/>
      <dgm:t>
        <a:bodyPr/>
        <a:lstStyle/>
        <a:p>
          <a:endParaRPr lang="en-GB"/>
        </a:p>
      </dgm:t>
    </dgm:pt>
    <dgm:pt modelId="{CEF8440E-0AD8-4BD9-9C56-9A3D41CCCD8B}" type="sibTrans" cxnId="{17C6C2CF-DC49-4B8C-8FCA-944FC70F71F8}">
      <dgm:prSet/>
      <dgm:spPr/>
      <dgm:t>
        <a:bodyPr/>
        <a:lstStyle/>
        <a:p>
          <a:endParaRPr lang="en-GB"/>
        </a:p>
      </dgm:t>
    </dgm:pt>
    <dgm:pt modelId="{C3215CE3-B0CE-4992-9C9B-233204211DC7}" type="pres">
      <dgm:prSet presAssocID="{728ADE38-B7EE-49CD-B2DE-092F941A5DAF}" presName="linearFlow" presStyleCnt="0">
        <dgm:presLayoutVars>
          <dgm:dir/>
          <dgm:resizeHandles val="exact"/>
        </dgm:presLayoutVars>
      </dgm:prSet>
      <dgm:spPr/>
    </dgm:pt>
    <dgm:pt modelId="{C304E7C3-811A-4838-8C04-78C13DC9B8A5}" type="pres">
      <dgm:prSet presAssocID="{23F13034-DB5C-47E5-AFB6-70A4CCE0C74A}" presName="comp" presStyleCnt="0"/>
      <dgm:spPr/>
    </dgm:pt>
    <dgm:pt modelId="{CDDC9D60-2A01-4D03-BD8C-18223FBD394B}" type="pres">
      <dgm:prSet presAssocID="{23F13034-DB5C-47E5-AFB6-70A4CCE0C74A}" presName="rect2" presStyleLbl="node1" presStyleIdx="0" presStyleCnt="5">
        <dgm:presLayoutVars>
          <dgm:bulletEnabled val="1"/>
        </dgm:presLayoutVars>
      </dgm:prSet>
      <dgm:spPr/>
    </dgm:pt>
    <dgm:pt modelId="{2F2D0D7E-F02F-4E8A-872E-1EE36B2BD788}" type="pres">
      <dgm:prSet presAssocID="{23F13034-DB5C-47E5-AFB6-70A4CCE0C74A}" presName="rect1" presStyleLbl="ln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000" r="-1000"/>
          </a:stretch>
        </a:blipFill>
      </dgm:spPr>
      <dgm:extLst>
        <a:ext uri="{E40237B7-FDA0-4F09-8148-C483321AD2D9}">
          <dgm14:cNvPr xmlns:dgm14="http://schemas.microsoft.com/office/drawing/2010/diagram" id="0" name="" descr="Artist female outline"/>
        </a:ext>
      </dgm:extLst>
    </dgm:pt>
    <dgm:pt modelId="{C33C87A3-D5C4-4273-BE08-D157354740F4}" type="pres">
      <dgm:prSet presAssocID="{8FB52787-054D-4BB5-8655-C8D4AF0AB9BC}" presName="sibTrans" presStyleCnt="0"/>
      <dgm:spPr/>
    </dgm:pt>
    <dgm:pt modelId="{81479810-D1E0-4301-AC48-77694CBA9FE1}" type="pres">
      <dgm:prSet presAssocID="{FA5FFA3C-103D-4E48-ABCA-94415EB08412}" presName="comp" presStyleCnt="0"/>
      <dgm:spPr/>
    </dgm:pt>
    <dgm:pt modelId="{1451224C-BE19-454B-99E3-65914B97833E}" type="pres">
      <dgm:prSet presAssocID="{FA5FFA3C-103D-4E48-ABCA-94415EB08412}" presName="rect2" presStyleLbl="node1" presStyleIdx="1" presStyleCnt="5">
        <dgm:presLayoutVars>
          <dgm:bulletEnabled val="1"/>
        </dgm:presLayoutVars>
      </dgm:prSet>
      <dgm:spPr/>
    </dgm:pt>
    <dgm:pt modelId="{1DDB8304-8068-4860-84A4-09C5905C65EC}" type="pres">
      <dgm:prSet presAssocID="{FA5FFA3C-103D-4E48-ABCA-94415EB08412}" presName="rect1" presStyleLbl="ln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000" r="-1000"/>
          </a:stretch>
        </a:blipFill>
      </dgm:spPr>
      <dgm:extLst>
        <a:ext uri="{E40237B7-FDA0-4F09-8148-C483321AD2D9}">
          <dgm14:cNvPr xmlns:dgm14="http://schemas.microsoft.com/office/drawing/2010/diagram" id="0" name="" descr="Coffin outline"/>
        </a:ext>
      </dgm:extLst>
    </dgm:pt>
    <dgm:pt modelId="{75E23B1D-FB30-4A54-8F70-92BD3A4CE7F4}" type="pres">
      <dgm:prSet presAssocID="{D132942B-FF2C-40D3-BE56-EA43A2472B27}" presName="sibTrans" presStyleCnt="0"/>
      <dgm:spPr/>
    </dgm:pt>
    <dgm:pt modelId="{EDBC6E99-C277-4603-B72D-6FFA54FC9428}" type="pres">
      <dgm:prSet presAssocID="{6D1C2E0F-F36F-438C-A1E2-ECF3730E3CE9}" presName="comp" presStyleCnt="0"/>
      <dgm:spPr/>
    </dgm:pt>
    <dgm:pt modelId="{76455AA1-C415-45E0-AFD9-57BED38288ED}" type="pres">
      <dgm:prSet presAssocID="{6D1C2E0F-F36F-438C-A1E2-ECF3730E3CE9}" presName="rect2" presStyleLbl="node1" presStyleIdx="2" presStyleCnt="5">
        <dgm:presLayoutVars>
          <dgm:bulletEnabled val="1"/>
        </dgm:presLayoutVars>
      </dgm:prSet>
      <dgm:spPr/>
    </dgm:pt>
    <dgm:pt modelId="{CDB8DAAD-9B12-4996-A644-BAD071D5ECBA}" type="pres">
      <dgm:prSet presAssocID="{6D1C2E0F-F36F-438C-A1E2-ECF3730E3CE9}" presName="rect1" presStyleLbl="ln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000" r="-1000"/>
          </a:stretch>
        </a:blipFill>
      </dgm:spPr>
      <dgm:extLst>
        <a:ext uri="{E40237B7-FDA0-4F09-8148-C483321AD2D9}">
          <dgm14:cNvPr xmlns:dgm14="http://schemas.microsoft.com/office/drawing/2010/diagram" id="0" name="" descr="Advertising outline"/>
        </a:ext>
      </dgm:extLst>
    </dgm:pt>
    <dgm:pt modelId="{5FE8535E-01D7-4915-AE5A-E93C06D61C7C}" type="pres">
      <dgm:prSet presAssocID="{D052A83F-0E9D-47C6-BC16-4FFC4292E255}" presName="sibTrans" presStyleCnt="0"/>
      <dgm:spPr/>
    </dgm:pt>
    <dgm:pt modelId="{9FF99EBE-1705-4A4D-9B95-1DBDF8B1BCFB}" type="pres">
      <dgm:prSet presAssocID="{8BB22A01-39EA-4E61-B22C-05A8622EB066}" presName="comp" presStyleCnt="0"/>
      <dgm:spPr/>
    </dgm:pt>
    <dgm:pt modelId="{8677C728-71FA-4C09-9347-D39523AC1EB5}" type="pres">
      <dgm:prSet presAssocID="{8BB22A01-39EA-4E61-B22C-05A8622EB066}" presName="rect2" presStyleLbl="node1" presStyleIdx="3" presStyleCnt="5">
        <dgm:presLayoutVars>
          <dgm:bulletEnabled val="1"/>
        </dgm:presLayoutVars>
      </dgm:prSet>
      <dgm:spPr/>
    </dgm:pt>
    <dgm:pt modelId="{F9E08518-2F37-48FB-8EAF-CB50EB8C643C}" type="pres">
      <dgm:prSet presAssocID="{8BB22A01-39EA-4E61-B22C-05A8622EB066}" presName="rect1" presStyleLbl="ln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000" r="-1000"/>
          </a:stretch>
        </a:blipFill>
      </dgm:spPr>
      <dgm:extLst>
        <a:ext uri="{E40237B7-FDA0-4F09-8148-C483321AD2D9}">
          <dgm14:cNvPr xmlns:dgm14="http://schemas.microsoft.com/office/drawing/2010/diagram" id="0" name="" descr="Board Of Directors outline"/>
        </a:ext>
      </dgm:extLst>
    </dgm:pt>
    <dgm:pt modelId="{F193F996-7956-4174-8B1C-B95B1E5EFCDA}" type="pres">
      <dgm:prSet presAssocID="{D1F3F660-0575-46E9-9F7C-E6C7BA6A131B}" presName="sibTrans" presStyleCnt="0"/>
      <dgm:spPr/>
    </dgm:pt>
    <dgm:pt modelId="{B3C32A47-1B50-4A5C-9FCC-DFB3BE76BFFA}" type="pres">
      <dgm:prSet presAssocID="{E78D8D99-F0AA-41B0-BACA-17D9100AEC09}" presName="comp" presStyleCnt="0"/>
      <dgm:spPr/>
    </dgm:pt>
    <dgm:pt modelId="{BB76AF39-2C2C-4199-A3EE-73940FB021DE}" type="pres">
      <dgm:prSet presAssocID="{E78D8D99-F0AA-41B0-BACA-17D9100AEC09}" presName="rect2" presStyleLbl="node1" presStyleIdx="4" presStyleCnt="5">
        <dgm:presLayoutVars>
          <dgm:bulletEnabled val="1"/>
        </dgm:presLayoutVars>
      </dgm:prSet>
      <dgm:spPr/>
    </dgm:pt>
    <dgm:pt modelId="{AC54D540-4347-4D57-B736-8A058E8619F8}" type="pres">
      <dgm:prSet presAssocID="{E78D8D99-F0AA-41B0-BACA-17D9100AEC09}" presName="rect1" presStyleLbl="ln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1000" r="-1000"/>
          </a:stretch>
        </a:blipFill>
      </dgm:spPr>
      <dgm:extLst>
        <a:ext uri="{E40237B7-FDA0-4F09-8148-C483321AD2D9}">
          <dgm14:cNvPr xmlns:dgm14="http://schemas.microsoft.com/office/drawing/2010/diagram" id="0" name="" descr="Target with solid fill"/>
        </a:ext>
      </dgm:extLst>
    </dgm:pt>
  </dgm:ptLst>
  <dgm:cxnLst>
    <dgm:cxn modelId="{70D64D1E-FF7C-438E-83A9-BAFFC873767C}" srcId="{728ADE38-B7EE-49CD-B2DE-092F941A5DAF}" destId="{6D1C2E0F-F36F-438C-A1E2-ECF3730E3CE9}" srcOrd="2" destOrd="0" parTransId="{39273933-5344-4F05-BC73-6342F7245A8D}" sibTransId="{D052A83F-0E9D-47C6-BC16-4FFC4292E255}"/>
    <dgm:cxn modelId="{3DFE1226-6BF6-4372-B8A1-931753EC6A94}" type="presOf" srcId="{728ADE38-B7EE-49CD-B2DE-092F941A5DAF}" destId="{C3215CE3-B0CE-4992-9C9B-233204211DC7}" srcOrd="0" destOrd="0" presId="urn:microsoft.com/office/officeart/2008/layout/AlternatingPictureBlocks"/>
    <dgm:cxn modelId="{E704B52F-2B21-4ED1-B97B-160D32D1C0FE}" type="presOf" srcId="{23F13034-DB5C-47E5-AFB6-70A4CCE0C74A}" destId="{CDDC9D60-2A01-4D03-BD8C-18223FBD394B}" srcOrd="0" destOrd="0" presId="urn:microsoft.com/office/officeart/2008/layout/AlternatingPictureBlocks"/>
    <dgm:cxn modelId="{09EEEB36-B342-4057-89E0-D2C0DA09F485}" srcId="{728ADE38-B7EE-49CD-B2DE-092F941A5DAF}" destId="{23F13034-DB5C-47E5-AFB6-70A4CCE0C74A}" srcOrd="0" destOrd="0" parTransId="{1136112E-5B2B-46F0-BAC4-91CA0B986DBD}" sibTransId="{8FB52787-054D-4BB5-8655-C8D4AF0AB9BC}"/>
    <dgm:cxn modelId="{327BAE3B-1CFA-468E-BD96-11C89136C83D}" type="presOf" srcId="{E78D8D99-F0AA-41B0-BACA-17D9100AEC09}" destId="{BB76AF39-2C2C-4199-A3EE-73940FB021DE}" srcOrd="0" destOrd="0" presId="urn:microsoft.com/office/officeart/2008/layout/AlternatingPictureBlocks"/>
    <dgm:cxn modelId="{30D87145-59B7-4D4D-B014-8EE56BFCFB74}" type="presOf" srcId="{FA5FFA3C-103D-4E48-ABCA-94415EB08412}" destId="{1451224C-BE19-454B-99E3-65914B97833E}" srcOrd="0" destOrd="0" presId="urn:microsoft.com/office/officeart/2008/layout/AlternatingPictureBlocks"/>
    <dgm:cxn modelId="{1A9FBC6E-857A-48BA-A3B8-7F31BF1F1E2E}" srcId="{728ADE38-B7EE-49CD-B2DE-092F941A5DAF}" destId="{8BB22A01-39EA-4E61-B22C-05A8622EB066}" srcOrd="3" destOrd="0" parTransId="{4DCAF5E6-4ACE-450B-89D5-6A23DB71EE58}" sibTransId="{D1F3F660-0575-46E9-9F7C-E6C7BA6A131B}"/>
    <dgm:cxn modelId="{5E7D2151-CB42-4713-9425-4A8E1842D6CF}" srcId="{728ADE38-B7EE-49CD-B2DE-092F941A5DAF}" destId="{FA5FFA3C-103D-4E48-ABCA-94415EB08412}" srcOrd="1" destOrd="0" parTransId="{0EAC1FAF-69A7-41E8-B039-A97015FB5314}" sibTransId="{D132942B-FF2C-40D3-BE56-EA43A2472B27}"/>
    <dgm:cxn modelId="{4F19C58A-7659-46B9-8F12-57E03E0A89B6}" type="presOf" srcId="{6D1C2E0F-F36F-438C-A1E2-ECF3730E3CE9}" destId="{76455AA1-C415-45E0-AFD9-57BED38288ED}" srcOrd="0" destOrd="0" presId="urn:microsoft.com/office/officeart/2008/layout/AlternatingPictureBlocks"/>
    <dgm:cxn modelId="{17C6C2CF-DC49-4B8C-8FCA-944FC70F71F8}" srcId="{728ADE38-B7EE-49CD-B2DE-092F941A5DAF}" destId="{E78D8D99-F0AA-41B0-BACA-17D9100AEC09}" srcOrd="4" destOrd="0" parTransId="{DEB8E334-86F8-43EF-B253-5A07F522C6C4}" sibTransId="{CEF8440E-0AD8-4BD9-9C56-9A3D41CCCD8B}"/>
    <dgm:cxn modelId="{205FADF9-42D4-4AE5-97BC-E57BAD341FF3}" type="presOf" srcId="{8BB22A01-39EA-4E61-B22C-05A8622EB066}" destId="{8677C728-71FA-4C09-9347-D39523AC1EB5}" srcOrd="0" destOrd="0" presId="urn:microsoft.com/office/officeart/2008/layout/AlternatingPictureBlocks"/>
    <dgm:cxn modelId="{CF242D74-09F8-4AF4-B122-331F5575AA86}" type="presParOf" srcId="{C3215CE3-B0CE-4992-9C9B-233204211DC7}" destId="{C304E7C3-811A-4838-8C04-78C13DC9B8A5}" srcOrd="0" destOrd="0" presId="urn:microsoft.com/office/officeart/2008/layout/AlternatingPictureBlocks"/>
    <dgm:cxn modelId="{7B868519-7FCE-415F-A834-875C6426CEB6}" type="presParOf" srcId="{C304E7C3-811A-4838-8C04-78C13DC9B8A5}" destId="{CDDC9D60-2A01-4D03-BD8C-18223FBD394B}" srcOrd="0" destOrd="0" presId="urn:microsoft.com/office/officeart/2008/layout/AlternatingPictureBlocks"/>
    <dgm:cxn modelId="{999F7190-E3A1-43AB-B083-F699293E5836}" type="presParOf" srcId="{C304E7C3-811A-4838-8C04-78C13DC9B8A5}" destId="{2F2D0D7E-F02F-4E8A-872E-1EE36B2BD788}" srcOrd="1" destOrd="0" presId="urn:microsoft.com/office/officeart/2008/layout/AlternatingPictureBlocks"/>
    <dgm:cxn modelId="{8C18EDDE-86D1-4931-BFDF-4199428BC15A}" type="presParOf" srcId="{C3215CE3-B0CE-4992-9C9B-233204211DC7}" destId="{C33C87A3-D5C4-4273-BE08-D157354740F4}" srcOrd="1" destOrd="0" presId="urn:microsoft.com/office/officeart/2008/layout/AlternatingPictureBlocks"/>
    <dgm:cxn modelId="{6631708A-6876-4E15-96A3-7F446F20B13F}" type="presParOf" srcId="{C3215CE3-B0CE-4992-9C9B-233204211DC7}" destId="{81479810-D1E0-4301-AC48-77694CBA9FE1}" srcOrd="2" destOrd="0" presId="urn:microsoft.com/office/officeart/2008/layout/AlternatingPictureBlocks"/>
    <dgm:cxn modelId="{66226F16-3135-4681-933E-565C094F95E9}" type="presParOf" srcId="{81479810-D1E0-4301-AC48-77694CBA9FE1}" destId="{1451224C-BE19-454B-99E3-65914B97833E}" srcOrd="0" destOrd="0" presId="urn:microsoft.com/office/officeart/2008/layout/AlternatingPictureBlocks"/>
    <dgm:cxn modelId="{BB247EA0-94B9-405D-BFC6-AFEDBD0EB7F5}" type="presParOf" srcId="{81479810-D1E0-4301-AC48-77694CBA9FE1}" destId="{1DDB8304-8068-4860-84A4-09C5905C65EC}" srcOrd="1" destOrd="0" presId="urn:microsoft.com/office/officeart/2008/layout/AlternatingPictureBlocks"/>
    <dgm:cxn modelId="{17DCA16A-D0FF-4DCC-BCFD-A1F68897040E}" type="presParOf" srcId="{C3215CE3-B0CE-4992-9C9B-233204211DC7}" destId="{75E23B1D-FB30-4A54-8F70-92BD3A4CE7F4}" srcOrd="3" destOrd="0" presId="urn:microsoft.com/office/officeart/2008/layout/AlternatingPictureBlocks"/>
    <dgm:cxn modelId="{BEB5B316-85BC-4591-8AF1-BE066BF5420A}" type="presParOf" srcId="{C3215CE3-B0CE-4992-9C9B-233204211DC7}" destId="{EDBC6E99-C277-4603-B72D-6FFA54FC9428}" srcOrd="4" destOrd="0" presId="urn:microsoft.com/office/officeart/2008/layout/AlternatingPictureBlocks"/>
    <dgm:cxn modelId="{00182B4A-1F21-4DC9-810D-64DDEB6D2A72}" type="presParOf" srcId="{EDBC6E99-C277-4603-B72D-6FFA54FC9428}" destId="{76455AA1-C415-45E0-AFD9-57BED38288ED}" srcOrd="0" destOrd="0" presId="urn:microsoft.com/office/officeart/2008/layout/AlternatingPictureBlocks"/>
    <dgm:cxn modelId="{AFE49E4A-584E-430D-8F3A-21A45279B9EC}" type="presParOf" srcId="{EDBC6E99-C277-4603-B72D-6FFA54FC9428}" destId="{CDB8DAAD-9B12-4996-A644-BAD071D5ECBA}" srcOrd="1" destOrd="0" presId="urn:microsoft.com/office/officeart/2008/layout/AlternatingPictureBlocks"/>
    <dgm:cxn modelId="{AA5C3179-4272-400B-8459-D4FE41A89591}" type="presParOf" srcId="{C3215CE3-B0CE-4992-9C9B-233204211DC7}" destId="{5FE8535E-01D7-4915-AE5A-E93C06D61C7C}" srcOrd="5" destOrd="0" presId="urn:microsoft.com/office/officeart/2008/layout/AlternatingPictureBlocks"/>
    <dgm:cxn modelId="{E1CD0958-1203-43E4-B5FF-512D6F0D0BD1}" type="presParOf" srcId="{C3215CE3-B0CE-4992-9C9B-233204211DC7}" destId="{9FF99EBE-1705-4A4D-9B95-1DBDF8B1BCFB}" srcOrd="6" destOrd="0" presId="urn:microsoft.com/office/officeart/2008/layout/AlternatingPictureBlocks"/>
    <dgm:cxn modelId="{50E6A2F1-FAE7-4350-9127-664C58FEBAFB}" type="presParOf" srcId="{9FF99EBE-1705-4A4D-9B95-1DBDF8B1BCFB}" destId="{8677C728-71FA-4C09-9347-D39523AC1EB5}" srcOrd="0" destOrd="0" presId="urn:microsoft.com/office/officeart/2008/layout/AlternatingPictureBlocks"/>
    <dgm:cxn modelId="{82D2D157-0D74-45D9-B6B4-EFDAB617EA99}" type="presParOf" srcId="{9FF99EBE-1705-4A4D-9B95-1DBDF8B1BCFB}" destId="{F9E08518-2F37-48FB-8EAF-CB50EB8C643C}" srcOrd="1" destOrd="0" presId="urn:microsoft.com/office/officeart/2008/layout/AlternatingPictureBlocks"/>
    <dgm:cxn modelId="{2F2DFB91-1C2A-4832-B1AD-91018A510FA2}" type="presParOf" srcId="{C3215CE3-B0CE-4992-9C9B-233204211DC7}" destId="{F193F996-7956-4174-8B1C-B95B1E5EFCDA}" srcOrd="7" destOrd="0" presId="urn:microsoft.com/office/officeart/2008/layout/AlternatingPictureBlocks"/>
    <dgm:cxn modelId="{2FB88FA1-1CF5-44F3-B796-6C7637F49518}" type="presParOf" srcId="{C3215CE3-B0CE-4992-9C9B-233204211DC7}" destId="{B3C32A47-1B50-4A5C-9FCC-DFB3BE76BFFA}" srcOrd="8" destOrd="0" presId="urn:microsoft.com/office/officeart/2008/layout/AlternatingPictureBlocks"/>
    <dgm:cxn modelId="{77D86D31-6C93-4B35-8885-D07F98194860}" type="presParOf" srcId="{B3C32A47-1B50-4A5C-9FCC-DFB3BE76BFFA}" destId="{BB76AF39-2C2C-4199-A3EE-73940FB021DE}" srcOrd="0" destOrd="0" presId="urn:microsoft.com/office/officeart/2008/layout/AlternatingPictureBlocks"/>
    <dgm:cxn modelId="{0F750301-08C7-4551-85CC-09837554261C}" type="presParOf" srcId="{B3C32A47-1B50-4A5C-9FCC-DFB3BE76BFFA}" destId="{AC54D540-4347-4D57-B736-8A058E8619F8}" srcOrd="1" destOrd="0" presId="urn:microsoft.com/office/officeart/2008/layout/Alternating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3617FF1-E9F0-4E70-BFF3-16D5CC8A61DF}"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GB"/>
        </a:p>
      </dgm:t>
    </dgm:pt>
    <dgm:pt modelId="{77F62404-906A-453D-AE84-87E674BD873F}">
      <dgm:prSet/>
      <dgm:spPr/>
      <dgm:t>
        <a:bodyPr/>
        <a:lstStyle/>
        <a:p>
          <a:r>
            <a:rPr lang="en-GB" b="0" i="0" dirty="0"/>
            <a:t>Compares data across different categories or groups. </a:t>
          </a:r>
          <a:endParaRPr lang="en-GB" dirty="0"/>
        </a:p>
      </dgm:t>
    </dgm:pt>
    <dgm:pt modelId="{A94067A3-4D52-4828-913C-B418716DC767}" type="parTrans" cxnId="{9F8784F2-D1BF-43E5-95AB-E27CC4824223}">
      <dgm:prSet/>
      <dgm:spPr/>
      <dgm:t>
        <a:bodyPr/>
        <a:lstStyle/>
        <a:p>
          <a:endParaRPr lang="en-GB"/>
        </a:p>
      </dgm:t>
    </dgm:pt>
    <dgm:pt modelId="{758DA95B-53CC-4871-8D91-61979BE47463}" type="sibTrans" cxnId="{9F8784F2-D1BF-43E5-95AB-E27CC4824223}">
      <dgm:prSet/>
      <dgm:spPr/>
      <dgm:t>
        <a:bodyPr/>
        <a:lstStyle/>
        <a:p>
          <a:endParaRPr lang="en-GB"/>
        </a:p>
      </dgm:t>
    </dgm:pt>
    <dgm:pt modelId="{B8EDE251-5447-43E2-ADE6-B05C486F5120}">
      <dgm:prSet/>
      <dgm:spPr/>
      <dgm:t>
        <a:bodyPr/>
        <a:lstStyle/>
        <a:p>
          <a:r>
            <a:rPr lang="en-GB" b="0" i="0" dirty="0"/>
            <a:t>Bar Chart</a:t>
          </a:r>
          <a:endParaRPr lang="en-GB" dirty="0"/>
        </a:p>
      </dgm:t>
    </dgm:pt>
    <dgm:pt modelId="{C93BDB27-F0AE-4204-89FC-903DE3FF2D57}" type="parTrans" cxnId="{95693503-8E30-4B84-8F96-41556DD16627}">
      <dgm:prSet/>
      <dgm:spPr/>
      <dgm:t>
        <a:bodyPr/>
        <a:lstStyle/>
        <a:p>
          <a:endParaRPr lang="en-GB"/>
        </a:p>
      </dgm:t>
    </dgm:pt>
    <dgm:pt modelId="{E164A86D-D825-4C16-AEBD-707AE3A7A73C}" type="sibTrans" cxnId="{95693503-8E30-4B84-8F96-41556DD16627}">
      <dgm:prSet/>
      <dgm:spPr/>
      <dgm:t>
        <a:bodyPr/>
        <a:lstStyle/>
        <a:p>
          <a:endParaRPr lang="en-GB"/>
        </a:p>
      </dgm:t>
    </dgm:pt>
    <dgm:pt modelId="{CE248F3B-8671-4EC5-AF47-9D21A5EC7D19}">
      <dgm:prSet/>
      <dgm:spPr/>
      <dgm:t>
        <a:bodyPr/>
        <a:lstStyle/>
        <a:p>
          <a:r>
            <a:rPr lang="en-GB" b="0" i="0" dirty="0"/>
            <a:t>Line Chart</a:t>
          </a:r>
          <a:endParaRPr lang="en-GB" dirty="0"/>
        </a:p>
      </dgm:t>
    </dgm:pt>
    <dgm:pt modelId="{3087FFE7-B45F-49DD-8930-3DB42D7E7476}" type="parTrans" cxnId="{85A2B4AE-2427-404F-ADB2-8C3AB3455CEE}">
      <dgm:prSet/>
      <dgm:spPr/>
      <dgm:t>
        <a:bodyPr/>
        <a:lstStyle/>
        <a:p>
          <a:endParaRPr lang="en-GB"/>
        </a:p>
      </dgm:t>
    </dgm:pt>
    <dgm:pt modelId="{65610812-C8F3-4ED4-B3DC-F8C6B49F8A8C}" type="sibTrans" cxnId="{85A2B4AE-2427-404F-ADB2-8C3AB3455CEE}">
      <dgm:prSet/>
      <dgm:spPr/>
      <dgm:t>
        <a:bodyPr/>
        <a:lstStyle/>
        <a:p>
          <a:endParaRPr lang="en-GB"/>
        </a:p>
      </dgm:t>
    </dgm:pt>
    <dgm:pt modelId="{A0AC4B66-F4B0-4B3C-AE26-7AF27E67F309}">
      <dgm:prSet/>
      <dgm:spPr/>
      <dgm:t>
        <a:bodyPr/>
        <a:lstStyle/>
        <a:p>
          <a:r>
            <a:rPr lang="en-GB" b="0" i="0" dirty="0"/>
            <a:t>Pie Chart</a:t>
          </a:r>
          <a:endParaRPr lang="en-GB" dirty="0"/>
        </a:p>
      </dgm:t>
    </dgm:pt>
    <dgm:pt modelId="{18E7DDD7-AB97-4719-95C8-E623F65ECDDD}" type="parTrans" cxnId="{80F638C4-6025-4407-8546-8D829E18A3ED}">
      <dgm:prSet/>
      <dgm:spPr/>
      <dgm:t>
        <a:bodyPr/>
        <a:lstStyle/>
        <a:p>
          <a:endParaRPr lang="en-GB"/>
        </a:p>
      </dgm:t>
    </dgm:pt>
    <dgm:pt modelId="{FFD6ACE3-E3AE-48D4-9CAC-A3B63B27A108}" type="sibTrans" cxnId="{80F638C4-6025-4407-8546-8D829E18A3ED}">
      <dgm:prSet/>
      <dgm:spPr/>
      <dgm:t>
        <a:bodyPr/>
        <a:lstStyle/>
        <a:p>
          <a:endParaRPr lang="en-GB"/>
        </a:p>
      </dgm:t>
    </dgm:pt>
    <dgm:pt modelId="{9B3C1281-AB56-4C85-B5BA-297377C7F2FE}">
      <dgm:prSet/>
      <dgm:spPr/>
      <dgm:t>
        <a:bodyPr/>
        <a:lstStyle/>
        <a:p>
          <a:r>
            <a:rPr lang="en-GB" b="0" i="0" dirty="0"/>
            <a:t>Area Chart</a:t>
          </a:r>
          <a:endParaRPr lang="en-GB" dirty="0"/>
        </a:p>
      </dgm:t>
    </dgm:pt>
    <dgm:pt modelId="{BE107737-9EE1-495E-BBC2-5A67B5E59A44}" type="parTrans" cxnId="{2A5F3732-8936-4451-945A-91BBE72527B2}">
      <dgm:prSet/>
      <dgm:spPr/>
      <dgm:t>
        <a:bodyPr/>
        <a:lstStyle/>
        <a:p>
          <a:endParaRPr lang="en-GB"/>
        </a:p>
      </dgm:t>
    </dgm:pt>
    <dgm:pt modelId="{7EDA66A6-D10A-4E14-8980-BECFAA69D760}" type="sibTrans" cxnId="{2A5F3732-8936-4451-945A-91BBE72527B2}">
      <dgm:prSet/>
      <dgm:spPr/>
      <dgm:t>
        <a:bodyPr/>
        <a:lstStyle/>
        <a:p>
          <a:endParaRPr lang="en-GB"/>
        </a:p>
      </dgm:t>
    </dgm:pt>
    <dgm:pt modelId="{11E82EB3-3260-4C6B-85C0-A5F64445DC4D}">
      <dgm:prSet/>
      <dgm:spPr/>
      <dgm:t>
        <a:bodyPr/>
        <a:lstStyle/>
        <a:p>
          <a:r>
            <a:rPr lang="en-GB" b="0" i="0" dirty="0"/>
            <a:t>Column Chart</a:t>
          </a:r>
          <a:endParaRPr lang="en-GB" dirty="0"/>
        </a:p>
      </dgm:t>
    </dgm:pt>
    <dgm:pt modelId="{AD7C0A67-2EE6-4FB1-8E50-1F23F5569C53}" type="parTrans" cxnId="{B0488DF2-8921-4A66-A67C-9F4E2140866A}">
      <dgm:prSet/>
      <dgm:spPr/>
      <dgm:t>
        <a:bodyPr/>
        <a:lstStyle/>
        <a:p>
          <a:endParaRPr lang="en-GB"/>
        </a:p>
      </dgm:t>
    </dgm:pt>
    <dgm:pt modelId="{FC33C2D6-3D8C-4C67-9584-626076C2A0E9}" type="sibTrans" cxnId="{B0488DF2-8921-4A66-A67C-9F4E2140866A}">
      <dgm:prSet/>
      <dgm:spPr/>
      <dgm:t>
        <a:bodyPr/>
        <a:lstStyle/>
        <a:p>
          <a:endParaRPr lang="en-GB"/>
        </a:p>
      </dgm:t>
    </dgm:pt>
    <dgm:pt modelId="{EBFD0E08-C44B-4970-9897-DF5605EDB179}">
      <dgm:prSet/>
      <dgm:spPr/>
      <dgm:t>
        <a:bodyPr/>
        <a:lstStyle/>
        <a:p>
          <a:r>
            <a:rPr lang="en-GB" b="0" i="0" dirty="0"/>
            <a:t>Compares data across categories. Bars are horizontal instead of vertical.</a:t>
          </a:r>
          <a:endParaRPr lang="en-GB" dirty="0"/>
        </a:p>
      </dgm:t>
    </dgm:pt>
    <dgm:pt modelId="{2040C07E-9E41-4ADE-A711-C50628D8F5ED}" type="parTrans" cxnId="{1FE05907-DE14-4975-9378-7E4791D5F5E2}">
      <dgm:prSet/>
      <dgm:spPr/>
      <dgm:t>
        <a:bodyPr/>
        <a:lstStyle/>
        <a:p>
          <a:endParaRPr lang="en-GB"/>
        </a:p>
      </dgm:t>
    </dgm:pt>
    <dgm:pt modelId="{519968D4-83BB-45C1-AB61-76D0E59533CB}" type="sibTrans" cxnId="{1FE05907-DE14-4975-9378-7E4791D5F5E2}">
      <dgm:prSet/>
      <dgm:spPr/>
      <dgm:t>
        <a:bodyPr/>
        <a:lstStyle/>
        <a:p>
          <a:endParaRPr lang="en-GB"/>
        </a:p>
      </dgm:t>
    </dgm:pt>
    <dgm:pt modelId="{908C1E32-E57C-49FE-83F3-A953FF27E8A4}">
      <dgm:prSet/>
      <dgm:spPr/>
      <dgm:t>
        <a:bodyPr/>
        <a:lstStyle/>
        <a:p>
          <a:r>
            <a:rPr lang="en-GB" b="0" i="0" dirty="0"/>
            <a:t>Displays trends or changes over time. </a:t>
          </a:r>
          <a:endParaRPr lang="en-GB" dirty="0"/>
        </a:p>
      </dgm:t>
    </dgm:pt>
    <dgm:pt modelId="{22F80833-DF4F-4728-A404-3E316E64AE26}" type="parTrans" cxnId="{AC0D3163-CF2B-4398-AA6B-A97C8DAE64BB}">
      <dgm:prSet/>
      <dgm:spPr/>
      <dgm:t>
        <a:bodyPr/>
        <a:lstStyle/>
        <a:p>
          <a:endParaRPr lang="en-GB"/>
        </a:p>
      </dgm:t>
    </dgm:pt>
    <dgm:pt modelId="{8316EB2A-617A-4515-8F51-1AEA3B079ECE}" type="sibTrans" cxnId="{AC0D3163-CF2B-4398-AA6B-A97C8DAE64BB}">
      <dgm:prSet/>
      <dgm:spPr/>
      <dgm:t>
        <a:bodyPr/>
        <a:lstStyle/>
        <a:p>
          <a:endParaRPr lang="en-GB"/>
        </a:p>
      </dgm:t>
    </dgm:pt>
    <dgm:pt modelId="{30145BA7-3ED0-4F87-8696-7015DA45C6FC}">
      <dgm:prSet/>
      <dgm:spPr/>
      <dgm:t>
        <a:bodyPr/>
        <a:lstStyle/>
        <a:p>
          <a:r>
            <a:rPr lang="en-GB" b="0" i="0" dirty="0"/>
            <a:t>Represents proportions or percentages of a whole.</a:t>
          </a:r>
          <a:endParaRPr lang="en-GB" dirty="0"/>
        </a:p>
      </dgm:t>
    </dgm:pt>
    <dgm:pt modelId="{960C4966-6CF8-4A95-B071-0E99BB2E5466}" type="parTrans" cxnId="{B31DE537-8002-48FB-A18D-029FC9C33BE9}">
      <dgm:prSet/>
      <dgm:spPr/>
      <dgm:t>
        <a:bodyPr/>
        <a:lstStyle/>
        <a:p>
          <a:endParaRPr lang="en-GB"/>
        </a:p>
      </dgm:t>
    </dgm:pt>
    <dgm:pt modelId="{68D8D16C-F322-4497-9D97-BDB23F33653F}" type="sibTrans" cxnId="{B31DE537-8002-48FB-A18D-029FC9C33BE9}">
      <dgm:prSet/>
      <dgm:spPr/>
      <dgm:t>
        <a:bodyPr/>
        <a:lstStyle/>
        <a:p>
          <a:endParaRPr lang="en-GB"/>
        </a:p>
      </dgm:t>
    </dgm:pt>
    <dgm:pt modelId="{C7C17408-8641-4425-8A8F-2D6C8BB3B1D7}">
      <dgm:prSet/>
      <dgm:spPr/>
      <dgm:t>
        <a:bodyPr/>
        <a:lstStyle/>
        <a:p>
          <a:r>
            <a:rPr lang="en-GB" b="0" i="0" dirty="0"/>
            <a:t>Scatter Plot</a:t>
          </a:r>
          <a:endParaRPr lang="en-GB" dirty="0"/>
        </a:p>
      </dgm:t>
    </dgm:pt>
    <dgm:pt modelId="{C0CDD6F5-BDA8-4AC8-82DA-47DEA093F489}" type="parTrans" cxnId="{58120183-45CD-4783-87FF-39D58332CEF5}">
      <dgm:prSet/>
      <dgm:spPr/>
      <dgm:t>
        <a:bodyPr/>
        <a:lstStyle/>
        <a:p>
          <a:endParaRPr lang="en-GB"/>
        </a:p>
      </dgm:t>
    </dgm:pt>
    <dgm:pt modelId="{6488F427-5894-4835-923B-4645DDB988F5}" type="sibTrans" cxnId="{58120183-45CD-4783-87FF-39D58332CEF5}">
      <dgm:prSet/>
      <dgm:spPr/>
      <dgm:t>
        <a:bodyPr/>
        <a:lstStyle/>
        <a:p>
          <a:endParaRPr lang="en-GB"/>
        </a:p>
      </dgm:t>
    </dgm:pt>
    <dgm:pt modelId="{CF63526A-2199-4D17-8D48-92CD0A161434}">
      <dgm:prSet/>
      <dgm:spPr/>
      <dgm:t>
        <a:bodyPr/>
        <a:lstStyle/>
        <a:p>
          <a:r>
            <a:rPr lang="en-GB" b="0" i="0" dirty="0"/>
            <a:t>Displays the relationship between two numerical variables.</a:t>
          </a:r>
          <a:endParaRPr lang="en-GB" dirty="0"/>
        </a:p>
      </dgm:t>
    </dgm:pt>
    <dgm:pt modelId="{8CD1F237-7F8E-447E-B9F4-2B7C8C2C5D39}" type="parTrans" cxnId="{5D22502B-CE23-431F-86ED-943A1583BCD4}">
      <dgm:prSet/>
      <dgm:spPr/>
      <dgm:t>
        <a:bodyPr/>
        <a:lstStyle/>
        <a:p>
          <a:endParaRPr lang="en-GB"/>
        </a:p>
      </dgm:t>
    </dgm:pt>
    <dgm:pt modelId="{3A99CF93-3674-4DCC-AAD8-4A0971F28B2F}" type="sibTrans" cxnId="{5D22502B-CE23-431F-86ED-943A1583BCD4}">
      <dgm:prSet/>
      <dgm:spPr/>
      <dgm:t>
        <a:bodyPr/>
        <a:lstStyle/>
        <a:p>
          <a:endParaRPr lang="en-GB"/>
        </a:p>
      </dgm:t>
    </dgm:pt>
    <dgm:pt modelId="{A59B4540-F222-4086-AAFC-A113D7BDE162}">
      <dgm:prSet/>
      <dgm:spPr/>
      <dgm:t>
        <a:bodyPr/>
        <a:lstStyle/>
        <a:p>
          <a:r>
            <a:rPr lang="en-GB" b="0" i="0" dirty="0"/>
            <a:t>Similar to line charts but represents accumulated totals over time.</a:t>
          </a:r>
          <a:endParaRPr lang="en-GB" dirty="0"/>
        </a:p>
      </dgm:t>
    </dgm:pt>
    <dgm:pt modelId="{0082E328-644F-4C05-AA38-9F1B65D58F8B}" type="parTrans" cxnId="{00554B63-6045-4714-A38A-70EC37DD627C}">
      <dgm:prSet/>
      <dgm:spPr/>
      <dgm:t>
        <a:bodyPr/>
        <a:lstStyle/>
        <a:p>
          <a:endParaRPr lang="en-GB"/>
        </a:p>
      </dgm:t>
    </dgm:pt>
    <dgm:pt modelId="{08A93272-7A57-4060-85BB-8F6F064E2317}" type="sibTrans" cxnId="{00554B63-6045-4714-A38A-70EC37DD627C}">
      <dgm:prSet/>
      <dgm:spPr/>
      <dgm:t>
        <a:bodyPr/>
        <a:lstStyle/>
        <a:p>
          <a:endParaRPr lang="en-GB"/>
        </a:p>
      </dgm:t>
    </dgm:pt>
    <dgm:pt modelId="{E5DD44AF-62AC-41A8-B7B0-FAA62CC35574}" type="pres">
      <dgm:prSet presAssocID="{13617FF1-E9F0-4E70-BFF3-16D5CC8A61DF}" presName="Name0" presStyleCnt="0">
        <dgm:presLayoutVars>
          <dgm:dir/>
          <dgm:animLvl val="lvl"/>
          <dgm:resizeHandles val="exact"/>
        </dgm:presLayoutVars>
      </dgm:prSet>
      <dgm:spPr/>
    </dgm:pt>
    <dgm:pt modelId="{C0A79317-840E-45FF-A426-643E39ADB25B}" type="pres">
      <dgm:prSet presAssocID="{11E82EB3-3260-4C6B-85C0-A5F64445DC4D}" presName="composite" presStyleCnt="0"/>
      <dgm:spPr/>
    </dgm:pt>
    <dgm:pt modelId="{C49CAE0B-FF3A-48E3-8975-7C3F233D0671}" type="pres">
      <dgm:prSet presAssocID="{11E82EB3-3260-4C6B-85C0-A5F64445DC4D}" presName="parTx" presStyleLbl="alignNode1" presStyleIdx="0" presStyleCnt="6">
        <dgm:presLayoutVars>
          <dgm:chMax val="0"/>
          <dgm:chPref val="0"/>
          <dgm:bulletEnabled val="1"/>
        </dgm:presLayoutVars>
      </dgm:prSet>
      <dgm:spPr/>
    </dgm:pt>
    <dgm:pt modelId="{B50AFE9C-9A3D-4C91-A0F6-C54DCA69BD70}" type="pres">
      <dgm:prSet presAssocID="{11E82EB3-3260-4C6B-85C0-A5F64445DC4D}" presName="desTx" presStyleLbl="alignAccFollowNode1" presStyleIdx="0" presStyleCnt="6">
        <dgm:presLayoutVars>
          <dgm:bulletEnabled val="1"/>
        </dgm:presLayoutVars>
      </dgm:prSet>
      <dgm:spPr/>
    </dgm:pt>
    <dgm:pt modelId="{DA3562ED-0E52-47A3-A61D-15F2512B72E5}" type="pres">
      <dgm:prSet presAssocID="{FC33C2D6-3D8C-4C67-9584-626076C2A0E9}" presName="space" presStyleCnt="0"/>
      <dgm:spPr/>
    </dgm:pt>
    <dgm:pt modelId="{34433C82-6F69-40A7-92E5-B80434A10868}" type="pres">
      <dgm:prSet presAssocID="{B8EDE251-5447-43E2-ADE6-B05C486F5120}" presName="composite" presStyleCnt="0"/>
      <dgm:spPr/>
    </dgm:pt>
    <dgm:pt modelId="{E9428701-F7D5-4912-99E7-247E19B2B9DF}" type="pres">
      <dgm:prSet presAssocID="{B8EDE251-5447-43E2-ADE6-B05C486F5120}" presName="parTx" presStyleLbl="alignNode1" presStyleIdx="1" presStyleCnt="6">
        <dgm:presLayoutVars>
          <dgm:chMax val="0"/>
          <dgm:chPref val="0"/>
          <dgm:bulletEnabled val="1"/>
        </dgm:presLayoutVars>
      </dgm:prSet>
      <dgm:spPr/>
    </dgm:pt>
    <dgm:pt modelId="{D1D3C07D-5D5C-4680-83B0-1740BAC0C74F}" type="pres">
      <dgm:prSet presAssocID="{B8EDE251-5447-43E2-ADE6-B05C486F5120}" presName="desTx" presStyleLbl="alignAccFollowNode1" presStyleIdx="1" presStyleCnt="6">
        <dgm:presLayoutVars>
          <dgm:bulletEnabled val="1"/>
        </dgm:presLayoutVars>
      </dgm:prSet>
      <dgm:spPr/>
    </dgm:pt>
    <dgm:pt modelId="{530F3342-B343-4CB7-A1C4-CEA79DAC2681}" type="pres">
      <dgm:prSet presAssocID="{E164A86D-D825-4C16-AEBD-707AE3A7A73C}" presName="space" presStyleCnt="0"/>
      <dgm:spPr/>
    </dgm:pt>
    <dgm:pt modelId="{E4588913-12C1-4F83-9A21-1C735B18F3E8}" type="pres">
      <dgm:prSet presAssocID="{CE248F3B-8671-4EC5-AF47-9D21A5EC7D19}" presName="composite" presStyleCnt="0"/>
      <dgm:spPr/>
    </dgm:pt>
    <dgm:pt modelId="{10E96785-5EBE-45DB-B709-205F5A2A13F9}" type="pres">
      <dgm:prSet presAssocID="{CE248F3B-8671-4EC5-AF47-9D21A5EC7D19}" presName="parTx" presStyleLbl="alignNode1" presStyleIdx="2" presStyleCnt="6">
        <dgm:presLayoutVars>
          <dgm:chMax val="0"/>
          <dgm:chPref val="0"/>
          <dgm:bulletEnabled val="1"/>
        </dgm:presLayoutVars>
      </dgm:prSet>
      <dgm:spPr/>
    </dgm:pt>
    <dgm:pt modelId="{6F7210FC-0892-4049-ACE2-D0BF9D801743}" type="pres">
      <dgm:prSet presAssocID="{CE248F3B-8671-4EC5-AF47-9D21A5EC7D19}" presName="desTx" presStyleLbl="alignAccFollowNode1" presStyleIdx="2" presStyleCnt="6">
        <dgm:presLayoutVars>
          <dgm:bulletEnabled val="1"/>
        </dgm:presLayoutVars>
      </dgm:prSet>
      <dgm:spPr/>
    </dgm:pt>
    <dgm:pt modelId="{77032D99-FCEA-4C6C-A3FE-06D3D738A51C}" type="pres">
      <dgm:prSet presAssocID="{65610812-C8F3-4ED4-B3DC-F8C6B49F8A8C}" presName="space" presStyleCnt="0"/>
      <dgm:spPr/>
    </dgm:pt>
    <dgm:pt modelId="{845B940A-D09D-4655-AC35-C2819EE63FF6}" type="pres">
      <dgm:prSet presAssocID="{A0AC4B66-F4B0-4B3C-AE26-7AF27E67F309}" presName="composite" presStyleCnt="0"/>
      <dgm:spPr/>
    </dgm:pt>
    <dgm:pt modelId="{5378780D-088C-450E-B594-50AE3CB653BA}" type="pres">
      <dgm:prSet presAssocID="{A0AC4B66-F4B0-4B3C-AE26-7AF27E67F309}" presName="parTx" presStyleLbl="alignNode1" presStyleIdx="3" presStyleCnt="6">
        <dgm:presLayoutVars>
          <dgm:chMax val="0"/>
          <dgm:chPref val="0"/>
          <dgm:bulletEnabled val="1"/>
        </dgm:presLayoutVars>
      </dgm:prSet>
      <dgm:spPr/>
    </dgm:pt>
    <dgm:pt modelId="{CD6F0C01-56F8-4762-9F6B-8B961866CA82}" type="pres">
      <dgm:prSet presAssocID="{A0AC4B66-F4B0-4B3C-AE26-7AF27E67F309}" presName="desTx" presStyleLbl="alignAccFollowNode1" presStyleIdx="3" presStyleCnt="6">
        <dgm:presLayoutVars>
          <dgm:bulletEnabled val="1"/>
        </dgm:presLayoutVars>
      </dgm:prSet>
      <dgm:spPr/>
    </dgm:pt>
    <dgm:pt modelId="{3AC67215-7B3C-4AE2-A57C-0EF5F5355024}" type="pres">
      <dgm:prSet presAssocID="{FFD6ACE3-E3AE-48D4-9CAC-A3B63B27A108}" presName="space" presStyleCnt="0"/>
      <dgm:spPr/>
    </dgm:pt>
    <dgm:pt modelId="{22810CBE-D526-41E3-B513-7C6AF8262CFF}" type="pres">
      <dgm:prSet presAssocID="{C7C17408-8641-4425-8A8F-2D6C8BB3B1D7}" presName="composite" presStyleCnt="0"/>
      <dgm:spPr/>
    </dgm:pt>
    <dgm:pt modelId="{531F6DDD-CA4F-48A8-8CE1-A7185BC3BE08}" type="pres">
      <dgm:prSet presAssocID="{C7C17408-8641-4425-8A8F-2D6C8BB3B1D7}" presName="parTx" presStyleLbl="alignNode1" presStyleIdx="4" presStyleCnt="6">
        <dgm:presLayoutVars>
          <dgm:chMax val="0"/>
          <dgm:chPref val="0"/>
          <dgm:bulletEnabled val="1"/>
        </dgm:presLayoutVars>
      </dgm:prSet>
      <dgm:spPr/>
    </dgm:pt>
    <dgm:pt modelId="{1E097BB8-EF3C-40E7-A17F-0FAF8B504383}" type="pres">
      <dgm:prSet presAssocID="{C7C17408-8641-4425-8A8F-2D6C8BB3B1D7}" presName="desTx" presStyleLbl="alignAccFollowNode1" presStyleIdx="4" presStyleCnt="6">
        <dgm:presLayoutVars>
          <dgm:bulletEnabled val="1"/>
        </dgm:presLayoutVars>
      </dgm:prSet>
      <dgm:spPr/>
    </dgm:pt>
    <dgm:pt modelId="{DEBD4A3A-09A3-4E13-B89E-3848762DFF10}" type="pres">
      <dgm:prSet presAssocID="{6488F427-5894-4835-923B-4645DDB988F5}" presName="space" presStyleCnt="0"/>
      <dgm:spPr/>
    </dgm:pt>
    <dgm:pt modelId="{B49A3F79-3D56-4662-9606-AAC67792A781}" type="pres">
      <dgm:prSet presAssocID="{9B3C1281-AB56-4C85-B5BA-297377C7F2FE}" presName="composite" presStyleCnt="0"/>
      <dgm:spPr/>
    </dgm:pt>
    <dgm:pt modelId="{F7EC4A7A-42E4-46FB-8FBA-E28874CAC93C}" type="pres">
      <dgm:prSet presAssocID="{9B3C1281-AB56-4C85-B5BA-297377C7F2FE}" presName="parTx" presStyleLbl="alignNode1" presStyleIdx="5" presStyleCnt="6">
        <dgm:presLayoutVars>
          <dgm:chMax val="0"/>
          <dgm:chPref val="0"/>
          <dgm:bulletEnabled val="1"/>
        </dgm:presLayoutVars>
      </dgm:prSet>
      <dgm:spPr/>
    </dgm:pt>
    <dgm:pt modelId="{1180E9CD-AC03-44E4-B527-FB5946716D54}" type="pres">
      <dgm:prSet presAssocID="{9B3C1281-AB56-4C85-B5BA-297377C7F2FE}" presName="desTx" presStyleLbl="alignAccFollowNode1" presStyleIdx="5" presStyleCnt="6">
        <dgm:presLayoutVars>
          <dgm:bulletEnabled val="1"/>
        </dgm:presLayoutVars>
      </dgm:prSet>
      <dgm:spPr/>
    </dgm:pt>
  </dgm:ptLst>
  <dgm:cxnLst>
    <dgm:cxn modelId="{95693503-8E30-4B84-8F96-41556DD16627}" srcId="{13617FF1-E9F0-4E70-BFF3-16D5CC8A61DF}" destId="{B8EDE251-5447-43E2-ADE6-B05C486F5120}" srcOrd="1" destOrd="0" parTransId="{C93BDB27-F0AE-4204-89FC-903DE3FF2D57}" sibTransId="{E164A86D-D825-4C16-AEBD-707AE3A7A73C}"/>
    <dgm:cxn modelId="{2FF95A05-1B38-4A12-89DA-1C6629B32349}" type="presOf" srcId="{13617FF1-E9F0-4E70-BFF3-16D5CC8A61DF}" destId="{E5DD44AF-62AC-41A8-B7B0-FAA62CC35574}" srcOrd="0" destOrd="0" presId="urn:microsoft.com/office/officeart/2005/8/layout/hList1"/>
    <dgm:cxn modelId="{0454DD06-FAE1-4712-A2BA-D4321F107ED4}" type="presOf" srcId="{EBFD0E08-C44B-4970-9897-DF5605EDB179}" destId="{D1D3C07D-5D5C-4680-83B0-1740BAC0C74F}" srcOrd="0" destOrd="0" presId="urn:microsoft.com/office/officeart/2005/8/layout/hList1"/>
    <dgm:cxn modelId="{1FE05907-DE14-4975-9378-7E4791D5F5E2}" srcId="{B8EDE251-5447-43E2-ADE6-B05C486F5120}" destId="{EBFD0E08-C44B-4970-9897-DF5605EDB179}" srcOrd="0" destOrd="0" parTransId="{2040C07E-9E41-4ADE-A711-C50628D8F5ED}" sibTransId="{519968D4-83BB-45C1-AB61-76D0E59533CB}"/>
    <dgm:cxn modelId="{B9DAA10E-6533-403D-A952-094B37476396}" type="presOf" srcId="{11E82EB3-3260-4C6B-85C0-A5F64445DC4D}" destId="{C49CAE0B-FF3A-48E3-8975-7C3F233D0671}" srcOrd="0" destOrd="0" presId="urn:microsoft.com/office/officeart/2005/8/layout/hList1"/>
    <dgm:cxn modelId="{6A2F1613-FDD8-40A1-95C3-26B978DB86DB}" type="presOf" srcId="{A0AC4B66-F4B0-4B3C-AE26-7AF27E67F309}" destId="{5378780D-088C-450E-B594-50AE3CB653BA}" srcOrd="0" destOrd="0" presId="urn:microsoft.com/office/officeart/2005/8/layout/hList1"/>
    <dgm:cxn modelId="{5D22502B-CE23-431F-86ED-943A1583BCD4}" srcId="{C7C17408-8641-4425-8A8F-2D6C8BB3B1D7}" destId="{CF63526A-2199-4D17-8D48-92CD0A161434}" srcOrd="0" destOrd="0" parTransId="{8CD1F237-7F8E-447E-B9F4-2B7C8C2C5D39}" sibTransId="{3A99CF93-3674-4DCC-AAD8-4A0971F28B2F}"/>
    <dgm:cxn modelId="{2A5F3732-8936-4451-945A-91BBE72527B2}" srcId="{13617FF1-E9F0-4E70-BFF3-16D5CC8A61DF}" destId="{9B3C1281-AB56-4C85-B5BA-297377C7F2FE}" srcOrd="5" destOrd="0" parTransId="{BE107737-9EE1-495E-BBC2-5A67B5E59A44}" sibTransId="{7EDA66A6-D10A-4E14-8980-BECFAA69D760}"/>
    <dgm:cxn modelId="{B31DE537-8002-48FB-A18D-029FC9C33BE9}" srcId="{A0AC4B66-F4B0-4B3C-AE26-7AF27E67F309}" destId="{30145BA7-3ED0-4F87-8696-7015DA45C6FC}" srcOrd="0" destOrd="0" parTransId="{960C4966-6CF8-4A95-B071-0E99BB2E5466}" sibTransId="{68D8D16C-F322-4497-9D97-BDB23F33653F}"/>
    <dgm:cxn modelId="{0460223C-00EC-406F-A4AD-62F5955CC347}" type="presOf" srcId="{908C1E32-E57C-49FE-83F3-A953FF27E8A4}" destId="{6F7210FC-0892-4049-ACE2-D0BF9D801743}" srcOrd="0" destOrd="0" presId="urn:microsoft.com/office/officeart/2005/8/layout/hList1"/>
    <dgm:cxn modelId="{A87B015D-DBCE-4C0C-B3CD-B16FD0A43DC8}" type="presOf" srcId="{CE248F3B-8671-4EC5-AF47-9D21A5EC7D19}" destId="{10E96785-5EBE-45DB-B709-205F5A2A13F9}" srcOrd="0" destOrd="0" presId="urn:microsoft.com/office/officeart/2005/8/layout/hList1"/>
    <dgm:cxn modelId="{AC0D3163-CF2B-4398-AA6B-A97C8DAE64BB}" srcId="{CE248F3B-8671-4EC5-AF47-9D21A5EC7D19}" destId="{908C1E32-E57C-49FE-83F3-A953FF27E8A4}" srcOrd="0" destOrd="0" parTransId="{22F80833-DF4F-4728-A404-3E316E64AE26}" sibTransId="{8316EB2A-617A-4515-8F51-1AEA3B079ECE}"/>
    <dgm:cxn modelId="{00554B63-6045-4714-A38A-70EC37DD627C}" srcId="{9B3C1281-AB56-4C85-B5BA-297377C7F2FE}" destId="{A59B4540-F222-4086-AAFC-A113D7BDE162}" srcOrd="0" destOrd="0" parTransId="{0082E328-644F-4C05-AA38-9F1B65D58F8B}" sibTransId="{08A93272-7A57-4060-85BB-8F6F064E2317}"/>
    <dgm:cxn modelId="{25EBD671-DE2A-44E6-B9C1-2FED3EBFE5E7}" type="presOf" srcId="{B8EDE251-5447-43E2-ADE6-B05C486F5120}" destId="{E9428701-F7D5-4912-99E7-247E19B2B9DF}" srcOrd="0" destOrd="0" presId="urn:microsoft.com/office/officeart/2005/8/layout/hList1"/>
    <dgm:cxn modelId="{58120183-45CD-4783-87FF-39D58332CEF5}" srcId="{13617FF1-E9F0-4E70-BFF3-16D5CC8A61DF}" destId="{C7C17408-8641-4425-8A8F-2D6C8BB3B1D7}" srcOrd="4" destOrd="0" parTransId="{C0CDD6F5-BDA8-4AC8-82DA-47DEA093F489}" sibTransId="{6488F427-5894-4835-923B-4645DDB988F5}"/>
    <dgm:cxn modelId="{1DFF7C85-3ADF-4990-9370-E9F7EACBCA72}" type="presOf" srcId="{30145BA7-3ED0-4F87-8696-7015DA45C6FC}" destId="{CD6F0C01-56F8-4762-9F6B-8B961866CA82}" srcOrd="0" destOrd="0" presId="urn:microsoft.com/office/officeart/2005/8/layout/hList1"/>
    <dgm:cxn modelId="{87F6CA89-6D6C-49F8-981C-D8F297B68444}" type="presOf" srcId="{9B3C1281-AB56-4C85-B5BA-297377C7F2FE}" destId="{F7EC4A7A-42E4-46FB-8FBA-E28874CAC93C}" srcOrd="0" destOrd="0" presId="urn:microsoft.com/office/officeart/2005/8/layout/hList1"/>
    <dgm:cxn modelId="{C5B79298-F9B5-4856-8A74-9BE3F5B6CB2C}" type="presOf" srcId="{77F62404-906A-453D-AE84-87E674BD873F}" destId="{B50AFE9C-9A3D-4C91-A0F6-C54DCA69BD70}" srcOrd="0" destOrd="0" presId="urn:microsoft.com/office/officeart/2005/8/layout/hList1"/>
    <dgm:cxn modelId="{85A2B4AE-2427-404F-ADB2-8C3AB3455CEE}" srcId="{13617FF1-E9F0-4E70-BFF3-16D5CC8A61DF}" destId="{CE248F3B-8671-4EC5-AF47-9D21A5EC7D19}" srcOrd="2" destOrd="0" parTransId="{3087FFE7-B45F-49DD-8930-3DB42D7E7476}" sibTransId="{65610812-C8F3-4ED4-B3DC-F8C6B49F8A8C}"/>
    <dgm:cxn modelId="{80F638C4-6025-4407-8546-8D829E18A3ED}" srcId="{13617FF1-E9F0-4E70-BFF3-16D5CC8A61DF}" destId="{A0AC4B66-F4B0-4B3C-AE26-7AF27E67F309}" srcOrd="3" destOrd="0" parTransId="{18E7DDD7-AB97-4719-95C8-E623F65ECDDD}" sibTransId="{FFD6ACE3-E3AE-48D4-9CAC-A3B63B27A108}"/>
    <dgm:cxn modelId="{1FFC22D3-DD73-4B00-98F6-A2E4D110B7E2}" type="presOf" srcId="{C7C17408-8641-4425-8A8F-2D6C8BB3B1D7}" destId="{531F6DDD-CA4F-48A8-8CE1-A7185BC3BE08}" srcOrd="0" destOrd="0" presId="urn:microsoft.com/office/officeart/2005/8/layout/hList1"/>
    <dgm:cxn modelId="{35698BDF-EBA3-40A8-BC8F-76C77456C153}" type="presOf" srcId="{CF63526A-2199-4D17-8D48-92CD0A161434}" destId="{1E097BB8-EF3C-40E7-A17F-0FAF8B504383}" srcOrd="0" destOrd="0" presId="urn:microsoft.com/office/officeart/2005/8/layout/hList1"/>
    <dgm:cxn modelId="{0C207BE9-2D92-4E4C-A96F-8451DE59C27A}" type="presOf" srcId="{A59B4540-F222-4086-AAFC-A113D7BDE162}" destId="{1180E9CD-AC03-44E4-B527-FB5946716D54}" srcOrd="0" destOrd="0" presId="urn:microsoft.com/office/officeart/2005/8/layout/hList1"/>
    <dgm:cxn modelId="{9F8784F2-D1BF-43E5-95AB-E27CC4824223}" srcId="{11E82EB3-3260-4C6B-85C0-A5F64445DC4D}" destId="{77F62404-906A-453D-AE84-87E674BD873F}" srcOrd="0" destOrd="0" parTransId="{A94067A3-4D52-4828-913C-B418716DC767}" sibTransId="{758DA95B-53CC-4871-8D91-61979BE47463}"/>
    <dgm:cxn modelId="{B0488DF2-8921-4A66-A67C-9F4E2140866A}" srcId="{13617FF1-E9F0-4E70-BFF3-16D5CC8A61DF}" destId="{11E82EB3-3260-4C6B-85C0-A5F64445DC4D}" srcOrd="0" destOrd="0" parTransId="{AD7C0A67-2EE6-4FB1-8E50-1F23F5569C53}" sibTransId="{FC33C2D6-3D8C-4C67-9584-626076C2A0E9}"/>
    <dgm:cxn modelId="{06362CFC-7D13-40F4-A7C4-AFEB9D39FAFD}" type="presParOf" srcId="{E5DD44AF-62AC-41A8-B7B0-FAA62CC35574}" destId="{C0A79317-840E-45FF-A426-643E39ADB25B}" srcOrd="0" destOrd="0" presId="urn:microsoft.com/office/officeart/2005/8/layout/hList1"/>
    <dgm:cxn modelId="{690C7E24-1989-41E2-8D32-9F7EA7FF1382}" type="presParOf" srcId="{C0A79317-840E-45FF-A426-643E39ADB25B}" destId="{C49CAE0B-FF3A-48E3-8975-7C3F233D0671}" srcOrd="0" destOrd="0" presId="urn:microsoft.com/office/officeart/2005/8/layout/hList1"/>
    <dgm:cxn modelId="{CE62C9C1-10CF-4A61-A78F-AFA68BCB0A2A}" type="presParOf" srcId="{C0A79317-840E-45FF-A426-643E39ADB25B}" destId="{B50AFE9C-9A3D-4C91-A0F6-C54DCA69BD70}" srcOrd="1" destOrd="0" presId="urn:microsoft.com/office/officeart/2005/8/layout/hList1"/>
    <dgm:cxn modelId="{C70AA936-C10A-4EEB-819A-09C8394B397A}" type="presParOf" srcId="{E5DD44AF-62AC-41A8-B7B0-FAA62CC35574}" destId="{DA3562ED-0E52-47A3-A61D-15F2512B72E5}" srcOrd="1" destOrd="0" presId="urn:microsoft.com/office/officeart/2005/8/layout/hList1"/>
    <dgm:cxn modelId="{A416749B-925C-4A9C-87EC-54F2D94CDF4E}" type="presParOf" srcId="{E5DD44AF-62AC-41A8-B7B0-FAA62CC35574}" destId="{34433C82-6F69-40A7-92E5-B80434A10868}" srcOrd="2" destOrd="0" presId="urn:microsoft.com/office/officeart/2005/8/layout/hList1"/>
    <dgm:cxn modelId="{4B6913FE-333D-42D9-AD65-9D128F1CC879}" type="presParOf" srcId="{34433C82-6F69-40A7-92E5-B80434A10868}" destId="{E9428701-F7D5-4912-99E7-247E19B2B9DF}" srcOrd="0" destOrd="0" presId="urn:microsoft.com/office/officeart/2005/8/layout/hList1"/>
    <dgm:cxn modelId="{B6C0AE4D-34C2-4908-805A-1BB20B236392}" type="presParOf" srcId="{34433C82-6F69-40A7-92E5-B80434A10868}" destId="{D1D3C07D-5D5C-4680-83B0-1740BAC0C74F}" srcOrd="1" destOrd="0" presId="urn:microsoft.com/office/officeart/2005/8/layout/hList1"/>
    <dgm:cxn modelId="{C4D75FAD-6103-44AB-96A8-C4FA3D00E17D}" type="presParOf" srcId="{E5DD44AF-62AC-41A8-B7B0-FAA62CC35574}" destId="{530F3342-B343-4CB7-A1C4-CEA79DAC2681}" srcOrd="3" destOrd="0" presId="urn:microsoft.com/office/officeart/2005/8/layout/hList1"/>
    <dgm:cxn modelId="{DDE403A1-5F6B-458C-821A-FED5B563B66C}" type="presParOf" srcId="{E5DD44AF-62AC-41A8-B7B0-FAA62CC35574}" destId="{E4588913-12C1-4F83-9A21-1C735B18F3E8}" srcOrd="4" destOrd="0" presId="urn:microsoft.com/office/officeart/2005/8/layout/hList1"/>
    <dgm:cxn modelId="{0342B5BF-11B0-4825-B2EF-6DE9BF6EAD6F}" type="presParOf" srcId="{E4588913-12C1-4F83-9A21-1C735B18F3E8}" destId="{10E96785-5EBE-45DB-B709-205F5A2A13F9}" srcOrd="0" destOrd="0" presId="urn:microsoft.com/office/officeart/2005/8/layout/hList1"/>
    <dgm:cxn modelId="{4BE74924-291F-43E7-B572-F5FD18DEA007}" type="presParOf" srcId="{E4588913-12C1-4F83-9A21-1C735B18F3E8}" destId="{6F7210FC-0892-4049-ACE2-D0BF9D801743}" srcOrd="1" destOrd="0" presId="urn:microsoft.com/office/officeart/2005/8/layout/hList1"/>
    <dgm:cxn modelId="{3068AFDD-52D0-4CC6-8F5F-3E24E4BC972D}" type="presParOf" srcId="{E5DD44AF-62AC-41A8-B7B0-FAA62CC35574}" destId="{77032D99-FCEA-4C6C-A3FE-06D3D738A51C}" srcOrd="5" destOrd="0" presId="urn:microsoft.com/office/officeart/2005/8/layout/hList1"/>
    <dgm:cxn modelId="{6D49D5C9-859E-42DD-87B9-CD70A7646C17}" type="presParOf" srcId="{E5DD44AF-62AC-41A8-B7B0-FAA62CC35574}" destId="{845B940A-D09D-4655-AC35-C2819EE63FF6}" srcOrd="6" destOrd="0" presId="urn:microsoft.com/office/officeart/2005/8/layout/hList1"/>
    <dgm:cxn modelId="{449BD87D-A783-4959-AF7C-DF5F7D3A5A69}" type="presParOf" srcId="{845B940A-D09D-4655-AC35-C2819EE63FF6}" destId="{5378780D-088C-450E-B594-50AE3CB653BA}" srcOrd="0" destOrd="0" presId="urn:microsoft.com/office/officeart/2005/8/layout/hList1"/>
    <dgm:cxn modelId="{0E4F87DA-5B9D-414A-9C87-03A44CAC145D}" type="presParOf" srcId="{845B940A-D09D-4655-AC35-C2819EE63FF6}" destId="{CD6F0C01-56F8-4762-9F6B-8B961866CA82}" srcOrd="1" destOrd="0" presId="urn:microsoft.com/office/officeart/2005/8/layout/hList1"/>
    <dgm:cxn modelId="{C36C200E-0D43-4504-8055-96F3A1CD3CB4}" type="presParOf" srcId="{E5DD44AF-62AC-41A8-B7B0-FAA62CC35574}" destId="{3AC67215-7B3C-4AE2-A57C-0EF5F5355024}" srcOrd="7" destOrd="0" presId="urn:microsoft.com/office/officeart/2005/8/layout/hList1"/>
    <dgm:cxn modelId="{1DD3DB45-4DE3-4110-9566-7C1F2DD84013}" type="presParOf" srcId="{E5DD44AF-62AC-41A8-B7B0-FAA62CC35574}" destId="{22810CBE-D526-41E3-B513-7C6AF8262CFF}" srcOrd="8" destOrd="0" presId="urn:microsoft.com/office/officeart/2005/8/layout/hList1"/>
    <dgm:cxn modelId="{D0CD46FD-D974-4502-BD8A-994945755FFD}" type="presParOf" srcId="{22810CBE-D526-41E3-B513-7C6AF8262CFF}" destId="{531F6DDD-CA4F-48A8-8CE1-A7185BC3BE08}" srcOrd="0" destOrd="0" presId="urn:microsoft.com/office/officeart/2005/8/layout/hList1"/>
    <dgm:cxn modelId="{CC47B769-EE7F-4358-B33D-E5A0673CC84E}" type="presParOf" srcId="{22810CBE-D526-41E3-B513-7C6AF8262CFF}" destId="{1E097BB8-EF3C-40E7-A17F-0FAF8B504383}" srcOrd="1" destOrd="0" presId="urn:microsoft.com/office/officeart/2005/8/layout/hList1"/>
    <dgm:cxn modelId="{17873277-B5FC-4AB5-84C0-0F5AB5B8940D}" type="presParOf" srcId="{E5DD44AF-62AC-41A8-B7B0-FAA62CC35574}" destId="{DEBD4A3A-09A3-4E13-B89E-3848762DFF10}" srcOrd="9" destOrd="0" presId="urn:microsoft.com/office/officeart/2005/8/layout/hList1"/>
    <dgm:cxn modelId="{4379C3AE-424E-45B7-83FE-292F26185087}" type="presParOf" srcId="{E5DD44AF-62AC-41A8-B7B0-FAA62CC35574}" destId="{B49A3F79-3D56-4662-9606-AAC67792A781}" srcOrd="10" destOrd="0" presId="urn:microsoft.com/office/officeart/2005/8/layout/hList1"/>
    <dgm:cxn modelId="{8517B050-3834-4501-98A6-E97BE903B829}" type="presParOf" srcId="{B49A3F79-3D56-4662-9606-AAC67792A781}" destId="{F7EC4A7A-42E4-46FB-8FBA-E28874CAC93C}" srcOrd="0" destOrd="0" presId="urn:microsoft.com/office/officeart/2005/8/layout/hList1"/>
    <dgm:cxn modelId="{DA53EBBD-CB62-4EB3-8F1C-A512A7125001}" type="presParOf" srcId="{B49A3F79-3D56-4662-9606-AAC67792A781}" destId="{1180E9CD-AC03-44E4-B527-FB5946716D5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13617FF1-E9F0-4E70-BFF3-16D5CC8A61DF}"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GB"/>
        </a:p>
      </dgm:t>
    </dgm:pt>
    <dgm:pt modelId="{6A6976DE-82BF-416A-A606-CBE926F222EA}">
      <dgm:prSet/>
      <dgm:spPr/>
      <dgm:t>
        <a:bodyPr/>
        <a:lstStyle/>
        <a:p>
          <a:r>
            <a:rPr lang="en-GB" b="0" i="0" dirty="0"/>
            <a:t>Funnel Chart </a:t>
          </a:r>
          <a:endParaRPr lang="en-GB" dirty="0"/>
        </a:p>
      </dgm:t>
    </dgm:pt>
    <dgm:pt modelId="{19FD308D-1D74-4BEE-A015-5A9B501C03E3}" type="parTrans" cxnId="{5612AAA9-FEEA-43B3-99AE-6DE091D2A436}">
      <dgm:prSet/>
      <dgm:spPr/>
      <dgm:t>
        <a:bodyPr/>
        <a:lstStyle/>
        <a:p>
          <a:endParaRPr lang="en-GB"/>
        </a:p>
      </dgm:t>
    </dgm:pt>
    <dgm:pt modelId="{740588E2-053C-449F-876C-C16D4C74E743}" type="sibTrans" cxnId="{5612AAA9-FEEA-43B3-99AE-6DE091D2A436}">
      <dgm:prSet/>
      <dgm:spPr/>
      <dgm:t>
        <a:bodyPr/>
        <a:lstStyle/>
        <a:p>
          <a:endParaRPr lang="en-GB"/>
        </a:p>
      </dgm:t>
    </dgm:pt>
    <dgm:pt modelId="{A59B4540-F222-4086-AAFC-A113D7BDE162}">
      <dgm:prSet/>
      <dgm:spPr/>
      <dgm:t>
        <a:bodyPr/>
        <a:lstStyle/>
        <a:p>
          <a:r>
            <a:rPr lang="en-GB" b="0" i="0" dirty="0"/>
            <a:t>Histogram</a:t>
          </a:r>
          <a:endParaRPr lang="en-GB" dirty="0"/>
        </a:p>
      </dgm:t>
    </dgm:pt>
    <dgm:pt modelId="{0082E328-644F-4C05-AA38-9F1B65D58F8B}" type="parTrans" cxnId="{00554B63-6045-4714-A38A-70EC37DD627C}">
      <dgm:prSet/>
      <dgm:spPr/>
      <dgm:t>
        <a:bodyPr/>
        <a:lstStyle/>
        <a:p>
          <a:endParaRPr lang="en-GB"/>
        </a:p>
      </dgm:t>
    </dgm:pt>
    <dgm:pt modelId="{08A93272-7A57-4060-85BB-8F6F064E2317}" type="sibTrans" cxnId="{00554B63-6045-4714-A38A-70EC37DD627C}">
      <dgm:prSet/>
      <dgm:spPr/>
      <dgm:t>
        <a:bodyPr/>
        <a:lstStyle/>
        <a:p>
          <a:endParaRPr lang="en-GB"/>
        </a:p>
      </dgm:t>
    </dgm:pt>
    <dgm:pt modelId="{008B10D0-EE38-40FA-B038-E04A25D2E926}">
      <dgm:prSet/>
      <dgm:spPr/>
      <dgm:t>
        <a:bodyPr/>
        <a:lstStyle/>
        <a:p>
          <a:r>
            <a:rPr lang="en-GB" b="0" i="0" dirty="0"/>
            <a:t>Visualizes the distribution of a dataset. </a:t>
          </a:r>
          <a:endParaRPr lang="en-GB" dirty="0"/>
        </a:p>
      </dgm:t>
    </dgm:pt>
    <dgm:pt modelId="{A20D537C-611D-47F2-9364-B0DD7681BD80}" type="parTrans" cxnId="{E95DEDCD-E639-4681-B3BF-E1431BC6DFA6}">
      <dgm:prSet/>
      <dgm:spPr/>
      <dgm:t>
        <a:bodyPr/>
        <a:lstStyle/>
        <a:p>
          <a:endParaRPr lang="en-GB"/>
        </a:p>
      </dgm:t>
    </dgm:pt>
    <dgm:pt modelId="{6F8EB865-ED2F-4BE4-9D23-F6925B4D7321}" type="sibTrans" cxnId="{E95DEDCD-E639-4681-B3BF-E1431BC6DFA6}">
      <dgm:prSet/>
      <dgm:spPr/>
      <dgm:t>
        <a:bodyPr/>
        <a:lstStyle/>
        <a:p>
          <a:endParaRPr lang="en-GB"/>
        </a:p>
      </dgm:t>
    </dgm:pt>
    <dgm:pt modelId="{FBE96BB3-9FAD-4949-AB8B-4F023AD8DCF8}">
      <dgm:prSet/>
      <dgm:spPr/>
      <dgm:t>
        <a:bodyPr/>
        <a:lstStyle/>
        <a:p>
          <a:r>
            <a:rPr lang="en-GB" b="0" i="0" dirty="0"/>
            <a:t>Waterfall Chart</a:t>
          </a:r>
          <a:endParaRPr lang="en-GB" dirty="0"/>
        </a:p>
      </dgm:t>
    </dgm:pt>
    <dgm:pt modelId="{2C0F58E0-6B23-4A11-A8B2-7B3B195A9697}" type="parTrans" cxnId="{F0FBC1B3-5611-4551-8E20-4BD77286D2E7}">
      <dgm:prSet/>
      <dgm:spPr/>
      <dgm:t>
        <a:bodyPr/>
        <a:lstStyle/>
        <a:p>
          <a:endParaRPr lang="en-GB"/>
        </a:p>
      </dgm:t>
    </dgm:pt>
    <dgm:pt modelId="{0270BB2F-8B3E-4BA0-913F-46E6DED1D924}" type="sibTrans" cxnId="{F0FBC1B3-5611-4551-8E20-4BD77286D2E7}">
      <dgm:prSet/>
      <dgm:spPr/>
      <dgm:t>
        <a:bodyPr/>
        <a:lstStyle/>
        <a:p>
          <a:endParaRPr lang="en-GB"/>
        </a:p>
      </dgm:t>
    </dgm:pt>
    <dgm:pt modelId="{53A29BC3-788C-49B5-BF31-D8BA2A6A5CC2}">
      <dgm:prSet/>
      <dgm:spPr/>
      <dgm:t>
        <a:bodyPr/>
        <a:lstStyle/>
        <a:p>
          <a:r>
            <a:rPr lang="en-GB" b="0" i="0" dirty="0"/>
            <a:t>Illustrates the cumulative effect of positive and negative values on a total.</a:t>
          </a:r>
          <a:endParaRPr lang="en-GB" dirty="0"/>
        </a:p>
      </dgm:t>
    </dgm:pt>
    <dgm:pt modelId="{56491A79-0FF4-495B-85BA-05E839D9E3FE}" type="parTrans" cxnId="{469777A0-7DB6-4DBE-9807-8CCDCF755EF0}">
      <dgm:prSet/>
      <dgm:spPr/>
      <dgm:t>
        <a:bodyPr/>
        <a:lstStyle/>
        <a:p>
          <a:endParaRPr lang="en-GB"/>
        </a:p>
      </dgm:t>
    </dgm:pt>
    <dgm:pt modelId="{B2EE412D-33D8-454E-A214-3BA6F378F9AA}" type="sibTrans" cxnId="{469777A0-7DB6-4DBE-9807-8CCDCF755EF0}">
      <dgm:prSet/>
      <dgm:spPr/>
      <dgm:t>
        <a:bodyPr/>
        <a:lstStyle/>
        <a:p>
          <a:endParaRPr lang="en-GB"/>
        </a:p>
      </dgm:t>
    </dgm:pt>
    <dgm:pt modelId="{945E6444-7F21-4266-A584-66CDB2E4962E}">
      <dgm:prSet/>
      <dgm:spPr/>
      <dgm:t>
        <a:bodyPr/>
        <a:lstStyle/>
        <a:p>
          <a:r>
            <a:rPr lang="en-GB" b="0" i="0" dirty="0"/>
            <a:t>Visualizes a series of stages in a process or sales funnel. </a:t>
          </a:r>
          <a:endParaRPr lang="en-GB" dirty="0"/>
        </a:p>
      </dgm:t>
    </dgm:pt>
    <dgm:pt modelId="{9890A76D-97C5-4C4D-8BC4-106996A1F7F0}" type="parTrans" cxnId="{566C0B97-4136-4A15-908D-6A9E22D7CF1F}">
      <dgm:prSet/>
      <dgm:spPr/>
      <dgm:t>
        <a:bodyPr/>
        <a:lstStyle/>
        <a:p>
          <a:endParaRPr lang="en-GB"/>
        </a:p>
      </dgm:t>
    </dgm:pt>
    <dgm:pt modelId="{0F5137CB-5490-4D1B-B5F6-3DA2E3AEA51D}" type="sibTrans" cxnId="{566C0B97-4136-4A15-908D-6A9E22D7CF1F}">
      <dgm:prSet/>
      <dgm:spPr/>
      <dgm:t>
        <a:bodyPr/>
        <a:lstStyle/>
        <a:p>
          <a:endParaRPr lang="en-GB"/>
        </a:p>
      </dgm:t>
    </dgm:pt>
    <dgm:pt modelId="{D1070165-8BAC-4F21-8954-C42875C01AD9}">
      <dgm:prSet/>
      <dgm:spPr/>
      <dgm:t>
        <a:bodyPr/>
        <a:lstStyle/>
        <a:p>
          <a:r>
            <a:rPr lang="en-GB" b="0" i="0" dirty="0"/>
            <a:t>Displays hierarchical data using nested rectangles or squares. </a:t>
          </a:r>
          <a:endParaRPr lang="en-GB" dirty="0"/>
        </a:p>
      </dgm:t>
    </dgm:pt>
    <dgm:pt modelId="{C3B81A18-BF96-4539-B06F-44D3978DAB56}" type="parTrans" cxnId="{A79154F5-703C-48E6-9F63-14C60CD84A80}">
      <dgm:prSet/>
      <dgm:spPr/>
      <dgm:t>
        <a:bodyPr/>
        <a:lstStyle/>
        <a:p>
          <a:endParaRPr lang="en-GB"/>
        </a:p>
      </dgm:t>
    </dgm:pt>
    <dgm:pt modelId="{7F3DCFC7-62DB-4D92-B185-106E48028C6A}" type="sibTrans" cxnId="{A79154F5-703C-48E6-9F63-14C60CD84A80}">
      <dgm:prSet/>
      <dgm:spPr/>
      <dgm:t>
        <a:bodyPr/>
        <a:lstStyle/>
        <a:p>
          <a:endParaRPr lang="en-GB"/>
        </a:p>
      </dgm:t>
    </dgm:pt>
    <dgm:pt modelId="{B8DAB248-8BE5-43E7-BA4D-020520373870}">
      <dgm:prSet/>
      <dgm:spPr/>
      <dgm:t>
        <a:bodyPr/>
        <a:lstStyle/>
        <a:p>
          <a:r>
            <a:rPr lang="en-GB" b="0" i="0" dirty="0"/>
            <a:t>Sunburst Chart</a:t>
          </a:r>
          <a:endParaRPr lang="en-GB" dirty="0"/>
        </a:p>
      </dgm:t>
    </dgm:pt>
    <dgm:pt modelId="{081ACC38-6E5F-4F43-BDBA-B93FD40F3D12}" type="parTrans" cxnId="{18A7B5B9-E41F-4A38-833C-0B38C48151CB}">
      <dgm:prSet/>
      <dgm:spPr/>
      <dgm:t>
        <a:bodyPr/>
        <a:lstStyle/>
        <a:p>
          <a:endParaRPr lang="en-GB"/>
        </a:p>
      </dgm:t>
    </dgm:pt>
    <dgm:pt modelId="{3037EF8D-FC43-4F25-B9CF-06E86532B28D}" type="sibTrans" cxnId="{18A7B5B9-E41F-4A38-833C-0B38C48151CB}">
      <dgm:prSet/>
      <dgm:spPr/>
      <dgm:t>
        <a:bodyPr/>
        <a:lstStyle/>
        <a:p>
          <a:endParaRPr lang="en-GB"/>
        </a:p>
      </dgm:t>
    </dgm:pt>
    <dgm:pt modelId="{9DC1449D-6F4D-4FE6-A3CB-53073D96B4F1}">
      <dgm:prSet/>
      <dgm:spPr/>
      <dgm:t>
        <a:bodyPr/>
        <a:lstStyle/>
        <a:p>
          <a:r>
            <a:rPr lang="en-GB" b="0" i="0" dirty="0"/>
            <a:t>Displays hierarchical data, similar to </a:t>
          </a:r>
          <a:r>
            <a:rPr lang="en-GB" b="0" i="0" dirty="0" err="1"/>
            <a:t>treemaps</a:t>
          </a:r>
          <a:r>
            <a:rPr lang="en-GB" b="0" i="0" dirty="0"/>
            <a:t>, but in a circular format. </a:t>
          </a:r>
          <a:endParaRPr lang="en-GB" dirty="0"/>
        </a:p>
      </dgm:t>
    </dgm:pt>
    <dgm:pt modelId="{0EC98466-AFE7-40AC-B0C6-5743E6264FD4}" type="parTrans" cxnId="{1B86566F-3CFA-4730-8F9A-1D9C2935F286}">
      <dgm:prSet/>
      <dgm:spPr/>
      <dgm:t>
        <a:bodyPr/>
        <a:lstStyle/>
        <a:p>
          <a:endParaRPr lang="en-GB"/>
        </a:p>
      </dgm:t>
    </dgm:pt>
    <dgm:pt modelId="{1880C9CF-F137-484A-B567-02CDE4C0A449}" type="sibTrans" cxnId="{1B86566F-3CFA-4730-8F9A-1D9C2935F286}">
      <dgm:prSet/>
      <dgm:spPr/>
      <dgm:t>
        <a:bodyPr/>
        <a:lstStyle/>
        <a:p>
          <a:endParaRPr lang="en-GB"/>
        </a:p>
      </dgm:t>
    </dgm:pt>
    <dgm:pt modelId="{E07CB115-F6B3-49DE-A65E-10FB0511CEEB}">
      <dgm:prSet/>
      <dgm:spPr/>
      <dgm:t>
        <a:bodyPr/>
        <a:lstStyle/>
        <a:p>
          <a:r>
            <a:rPr lang="en-GB" b="0" i="0"/>
            <a:t>Treemap</a:t>
          </a:r>
          <a:endParaRPr lang="en-GB" dirty="0"/>
        </a:p>
      </dgm:t>
    </dgm:pt>
    <dgm:pt modelId="{178872B8-C2FD-40CC-9B57-B30844077196}" type="parTrans" cxnId="{E6EA4F52-A24D-48F1-9AC3-EAE2095F194B}">
      <dgm:prSet/>
      <dgm:spPr/>
      <dgm:t>
        <a:bodyPr/>
        <a:lstStyle/>
        <a:p>
          <a:endParaRPr lang="en-GB"/>
        </a:p>
      </dgm:t>
    </dgm:pt>
    <dgm:pt modelId="{CC2B8E03-7806-4129-8040-F604781A7FA5}" type="sibTrans" cxnId="{E6EA4F52-A24D-48F1-9AC3-EAE2095F194B}">
      <dgm:prSet/>
      <dgm:spPr/>
      <dgm:t>
        <a:bodyPr/>
        <a:lstStyle/>
        <a:p>
          <a:endParaRPr lang="en-GB"/>
        </a:p>
      </dgm:t>
    </dgm:pt>
    <dgm:pt modelId="{E5DD44AF-62AC-41A8-B7B0-FAA62CC35574}" type="pres">
      <dgm:prSet presAssocID="{13617FF1-E9F0-4E70-BFF3-16D5CC8A61DF}" presName="Name0" presStyleCnt="0">
        <dgm:presLayoutVars>
          <dgm:dir/>
          <dgm:animLvl val="lvl"/>
          <dgm:resizeHandles val="exact"/>
        </dgm:presLayoutVars>
      </dgm:prSet>
      <dgm:spPr/>
    </dgm:pt>
    <dgm:pt modelId="{CC77E65E-BC20-4E20-B618-8D4FD5648BA4}" type="pres">
      <dgm:prSet presAssocID="{A59B4540-F222-4086-AAFC-A113D7BDE162}" presName="composite" presStyleCnt="0"/>
      <dgm:spPr/>
    </dgm:pt>
    <dgm:pt modelId="{24F56436-C912-4EFA-A0F7-702F3A8FB9C1}" type="pres">
      <dgm:prSet presAssocID="{A59B4540-F222-4086-AAFC-A113D7BDE162}" presName="parTx" presStyleLbl="alignNode1" presStyleIdx="0" presStyleCnt="5">
        <dgm:presLayoutVars>
          <dgm:chMax val="0"/>
          <dgm:chPref val="0"/>
          <dgm:bulletEnabled val="1"/>
        </dgm:presLayoutVars>
      </dgm:prSet>
      <dgm:spPr/>
    </dgm:pt>
    <dgm:pt modelId="{CC0125E5-5762-4FF7-BC85-26306A4504B6}" type="pres">
      <dgm:prSet presAssocID="{A59B4540-F222-4086-AAFC-A113D7BDE162}" presName="desTx" presStyleLbl="alignAccFollowNode1" presStyleIdx="0" presStyleCnt="5">
        <dgm:presLayoutVars>
          <dgm:bulletEnabled val="1"/>
        </dgm:presLayoutVars>
      </dgm:prSet>
      <dgm:spPr/>
    </dgm:pt>
    <dgm:pt modelId="{707CD929-2E07-4E5E-8ACC-4ADF0B1504E1}" type="pres">
      <dgm:prSet presAssocID="{08A93272-7A57-4060-85BB-8F6F064E2317}" presName="space" presStyleCnt="0"/>
      <dgm:spPr/>
    </dgm:pt>
    <dgm:pt modelId="{205A492A-8E89-4B7A-89EF-BF86439D2DC7}" type="pres">
      <dgm:prSet presAssocID="{FBE96BB3-9FAD-4949-AB8B-4F023AD8DCF8}" presName="composite" presStyleCnt="0"/>
      <dgm:spPr/>
    </dgm:pt>
    <dgm:pt modelId="{26DB24C0-A869-48DC-B864-4433E8857F61}" type="pres">
      <dgm:prSet presAssocID="{FBE96BB3-9FAD-4949-AB8B-4F023AD8DCF8}" presName="parTx" presStyleLbl="alignNode1" presStyleIdx="1" presStyleCnt="5">
        <dgm:presLayoutVars>
          <dgm:chMax val="0"/>
          <dgm:chPref val="0"/>
          <dgm:bulletEnabled val="1"/>
        </dgm:presLayoutVars>
      </dgm:prSet>
      <dgm:spPr/>
    </dgm:pt>
    <dgm:pt modelId="{429BD5D6-8258-477F-8EBF-B7520562EC40}" type="pres">
      <dgm:prSet presAssocID="{FBE96BB3-9FAD-4949-AB8B-4F023AD8DCF8}" presName="desTx" presStyleLbl="alignAccFollowNode1" presStyleIdx="1" presStyleCnt="5">
        <dgm:presLayoutVars>
          <dgm:bulletEnabled val="1"/>
        </dgm:presLayoutVars>
      </dgm:prSet>
      <dgm:spPr/>
    </dgm:pt>
    <dgm:pt modelId="{BC748B0E-A2B3-4EFD-8100-CE0019251C1A}" type="pres">
      <dgm:prSet presAssocID="{0270BB2F-8B3E-4BA0-913F-46E6DED1D924}" presName="space" presStyleCnt="0"/>
      <dgm:spPr/>
    </dgm:pt>
    <dgm:pt modelId="{23B5B803-3C5E-4F4C-88E7-F823B192272C}" type="pres">
      <dgm:prSet presAssocID="{6A6976DE-82BF-416A-A606-CBE926F222EA}" presName="composite" presStyleCnt="0"/>
      <dgm:spPr/>
    </dgm:pt>
    <dgm:pt modelId="{C1E200FE-696A-49DD-830B-906D7B71BC21}" type="pres">
      <dgm:prSet presAssocID="{6A6976DE-82BF-416A-A606-CBE926F222EA}" presName="parTx" presStyleLbl="alignNode1" presStyleIdx="2" presStyleCnt="5">
        <dgm:presLayoutVars>
          <dgm:chMax val="0"/>
          <dgm:chPref val="0"/>
          <dgm:bulletEnabled val="1"/>
        </dgm:presLayoutVars>
      </dgm:prSet>
      <dgm:spPr/>
    </dgm:pt>
    <dgm:pt modelId="{DC1A2751-D74F-4774-8B5D-AA668E2609FA}" type="pres">
      <dgm:prSet presAssocID="{6A6976DE-82BF-416A-A606-CBE926F222EA}" presName="desTx" presStyleLbl="alignAccFollowNode1" presStyleIdx="2" presStyleCnt="5">
        <dgm:presLayoutVars>
          <dgm:bulletEnabled val="1"/>
        </dgm:presLayoutVars>
      </dgm:prSet>
      <dgm:spPr/>
    </dgm:pt>
    <dgm:pt modelId="{B7CFDFD4-6EC7-4D1F-873A-4CEC08CCCAEF}" type="pres">
      <dgm:prSet presAssocID="{740588E2-053C-449F-876C-C16D4C74E743}" presName="space" presStyleCnt="0"/>
      <dgm:spPr/>
    </dgm:pt>
    <dgm:pt modelId="{8C9D5607-2D4E-4FED-A548-2E601EFA0FDD}" type="pres">
      <dgm:prSet presAssocID="{E07CB115-F6B3-49DE-A65E-10FB0511CEEB}" presName="composite" presStyleCnt="0"/>
      <dgm:spPr/>
    </dgm:pt>
    <dgm:pt modelId="{E25F9C7E-32D6-4368-860E-39A16C992369}" type="pres">
      <dgm:prSet presAssocID="{E07CB115-F6B3-49DE-A65E-10FB0511CEEB}" presName="parTx" presStyleLbl="alignNode1" presStyleIdx="3" presStyleCnt="5">
        <dgm:presLayoutVars>
          <dgm:chMax val="0"/>
          <dgm:chPref val="0"/>
          <dgm:bulletEnabled val="1"/>
        </dgm:presLayoutVars>
      </dgm:prSet>
      <dgm:spPr/>
    </dgm:pt>
    <dgm:pt modelId="{210CD6E9-D678-47FD-A3FD-A78B207EC39D}" type="pres">
      <dgm:prSet presAssocID="{E07CB115-F6B3-49DE-A65E-10FB0511CEEB}" presName="desTx" presStyleLbl="alignAccFollowNode1" presStyleIdx="3" presStyleCnt="5">
        <dgm:presLayoutVars>
          <dgm:bulletEnabled val="1"/>
        </dgm:presLayoutVars>
      </dgm:prSet>
      <dgm:spPr/>
    </dgm:pt>
    <dgm:pt modelId="{3391CFB5-CEB6-4696-BD25-9EB7E8F88F9A}" type="pres">
      <dgm:prSet presAssocID="{CC2B8E03-7806-4129-8040-F604781A7FA5}" presName="space" presStyleCnt="0"/>
      <dgm:spPr/>
    </dgm:pt>
    <dgm:pt modelId="{5CF3C054-B794-4185-BA1E-76E89674ABCA}" type="pres">
      <dgm:prSet presAssocID="{B8DAB248-8BE5-43E7-BA4D-020520373870}" presName="composite" presStyleCnt="0"/>
      <dgm:spPr/>
    </dgm:pt>
    <dgm:pt modelId="{F0B8ED99-457E-4863-A16F-E93A4FA18471}" type="pres">
      <dgm:prSet presAssocID="{B8DAB248-8BE5-43E7-BA4D-020520373870}" presName="parTx" presStyleLbl="alignNode1" presStyleIdx="4" presStyleCnt="5">
        <dgm:presLayoutVars>
          <dgm:chMax val="0"/>
          <dgm:chPref val="0"/>
          <dgm:bulletEnabled val="1"/>
        </dgm:presLayoutVars>
      </dgm:prSet>
      <dgm:spPr/>
    </dgm:pt>
    <dgm:pt modelId="{E37F1A26-BA2A-4D85-8FF4-F8C39FC2F32E}" type="pres">
      <dgm:prSet presAssocID="{B8DAB248-8BE5-43E7-BA4D-020520373870}" presName="desTx" presStyleLbl="alignAccFollowNode1" presStyleIdx="4" presStyleCnt="5">
        <dgm:presLayoutVars>
          <dgm:bulletEnabled val="1"/>
        </dgm:presLayoutVars>
      </dgm:prSet>
      <dgm:spPr/>
    </dgm:pt>
  </dgm:ptLst>
  <dgm:cxnLst>
    <dgm:cxn modelId="{2FF95A05-1B38-4A12-89DA-1C6629B32349}" type="presOf" srcId="{13617FF1-E9F0-4E70-BFF3-16D5CC8A61DF}" destId="{E5DD44AF-62AC-41A8-B7B0-FAA62CC35574}" srcOrd="0" destOrd="0" presId="urn:microsoft.com/office/officeart/2005/8/layout/hList1"/>
    <dgm:cxn modelId="{031BF92E-2317-4457-84CE-EEF071AD979B}" type="presOf" srcId="{B8DAB248-8BE5-43E7-BA4D-020520373870}" destId="{F0B8ED99-457E-4863-A16F-E93A4FA18471}" srcOrd="0" destOrd="0" presId="urn:microsoft.com/office/officeart/2005/8/layout/hList1"/>
    <dgm:cxn modelId="{465FC53F-C9C3-46B4-97E4-32C5A82B26C7}" type="presOf" srcId="{A59B4540-F222-4086-AAFC-A113D7BDE162}" destId="{24F56436-C912-4EFA-A0F7-702F3A8FB9C1}" srcOrd="0" destOrd="0" presId="urn:microsoft.com/office/officeart/2005/8/layout/hList1"/>
    <dgm:cxn modelId="{00554B63-6045-4714-A38A-70EC37DD627C}" srcId="{13617FF1-E9F0-4E70-BFF3-16D5CC8A61DF}" destId="{A59B4540-F222-4086-AAFC-A113D7BDE162}" srcOrd="0" destOrd="0" parTransId="{0082E328-644F-4C05-AA38-9F1B65D58F8B}" sibTransId="{08A93272-7A57-4060-85BB-8F6F064E2317}"/>
    <dgm:cxn modelId="{1B86566F-3CFA-4730-8F9A-1D9C2935F286}" srcId="{B8DAB248-8BE5-43E7-BA4D-020520373870}" destId="{9DC1449D-6F4D-4FE6-A3CB-53073D96B4F1}" srcOrd="0" destOrd="0" parTransId="{0EC98466-AFE7-40AC-B0C6-5743E6264FD4}" sibTransId="{1880C9CF-F137-484A-B567-02CDE4C0A449}"/>
    <dgm:cxn modelId="{E6EA4F52-A24D-48F1-9AC3-EAE2095F194B}" srcId="{13617FF1-E9F0-4E70-BFF3-16D5CC8A61DF}" destId="{E07CB115-F6B3-49DE-A65E-10FB0511CEEB}" srcOrd="3" destOrd="0" parTransId="{178872B8-C2FD-40CC-9B57-B30844077196}" sibTransId="{CC2B8E03-7806-4129-8040-F604781A7FA5}"/>
    <dgm:cxn modelId="{48E9E153-842C-4FB1-99C0-2E277293C708}" type="presOf" srcId="{9DC1449D-6F4D-4FE6-A3CB-53073D96B4F1}" destId="{E37F1A26-BA2A-4D85-8FF4-F8C39FC2F32E}" srcOrd="0" destOrd="0" presId="urn:microsoft.com/office/officeart/2005/8/layout/hList1"/>
    <dgm:cxn modelId="{272DEA84-6569-43C5-92E2-79A00DF006B5}" type="presOf" srcId="{945E6444-7F21-4266-A584-66CDB2E4962E}" destId="{DC1A2751-D74F-4774-8B5D-AA668E2609FA}" srcOrd="0" destOrd="0" presId="urn:microsoft.com/office/officeart/2005/8/layout/hList1"/>
    <dgm:cxn modelId="{9B387491-4728-44C3-9CFB-473010BD09B9}" type="presOf" srcId="{FBE96BB3-9FAD-4949-AB8B-4F023AD8DCF8}" destId="{26DB24C0-A869-48DC-B864-4433E8857F61}" srcOrd="0" destOrd="0" presId="urn:microsoft.com/office/officeart/2005/8/layout/hList1"/>
    <dgm:cxn modelId="{566C0B97-4136-4A15-908D-6A9E22D7CF1F}" srcId="{6A6976DE-82BF-416A-A606-CBE926F222EA}" destId="{945E6444-7F21-4266-A584-66CDB2E4962E}" srcOrd="0" destOrd="0" parTransId="{9890A76D-97C5-4C4D-8BC4-106996A1F7F0}" sibTransId="{0F5137CB-5490-4D1B-B5F6-3DA2E3AEA51D}"/>
    <dgm:cxn modelId="{F9D8999E-0A92-45DD-AFD5-EF35A4F59F71}" type="presOf" srcId="{D1070165-8BAC-4F21-8954-C42875C01AD9}" destId="{210CD6E9-D678-47FD-A3FD-A78B207EC39D}" srcOrd="0" destOrd="0" presId="urn:microsoft.com/office/officeart/2005/8/layout/hList1"/>
    <dgm:cxn modelId="{469777A0-7DB6-4DBE-9807-8CCDCF755EF0}" srcId="{FBE96BB3-9FAD-4949-AB8B-4F023AD8DCF8}" destId="{53A29BC3-788C-49B5-BF31-D8BA2A6A5CC2}" srcOrd="0" destOrd="0" parTransId="{56491A79-0FF4-495B-85BA-05E839D9E3FE}" sibTransId="{B2EE412D-33D8-454E-A214-3BA6F378F9AA}"/>
    <dgm:cxn modelId="{1B84A7A7-D0E9-42BB-BAB6-52A125A51674}" type="presOf" srcId="{53A29BC3-788C-49B5-BF31-D8BA2A6A5CC2}" destId="{429BD5D6-8258-477F-8EBF-B7520562EC40}" srcOrd="0" destOrd="0" presId="urn:microsoft.com/office/officeart/2005/8/layout/hList1"/>
    <dgm:cxn modelId="{5612AAA9-FEEA-43B3-99AE-6DE091D2A436}" srcId="{13617FF1-E9F0-4E70-BFF3-16D5CC8A61DF}" destId="{6A6976DE-82BF-416A-A606-CBE926F222EA}" srcOrd="2" destOrd="0" parTransId="{19FD308D-1D74-4BEE-A015-5A9B501C03E3}" sibTransId="{740588E2-053C-449F-876C-C16D4C74E743}"/>
    <dgm:cxn modelId="{6DA955AE-85AF-4AE0-A427-2B30DE9F3D23}" type="presOf" srcId="{008B10D0-EE38-40FA-B038-E04A25D2E926}" destId="{CC0125E5-5762-4FF7-BC85-26306A4504B6}" srcOrd="0" destOrd="0" presId="urn:microsoft.com/office/officeart/2005/8/layout/hList1"/>
    <dgm:cxn modelId="{F0FBC1B3-5611-4551-8E20-4BD77286D2E7}" srcId="{13617FF1-E9F0-4E70-BFF3-16D5CC8A61DF}" destId="{FBE96BB3-9FAD-4949-AB8B-4F023AD8DCF8}" srcOrd="1" destOrd="0" parTransId="{2C0F58E0-6B23-4A11-A8B2-7B3B195A9697}" sibTransId="{0270BB2F-8B3E-4BA0-913F-46E6DED1D924}"/>
    <dgm:cxn modelId="{18A7B5B9-E41F-4A38-833C-0B38C48151CB}" srcId="{13617FF1-E9F0-4E70-BFF3-16D5CC8A61DF}" destId="{B8DAB248-8BE5-43E7-BA4D-020520373870}" srcOrd="4" destOrd="0" parTransId="{081ACC38-6E5F-4F43-BDBA-B93FD40F3D12}" sibTransId="{3037EF8D-FC43-4F25-B9CF-06E86532B28D}"/>
    <dgm:cxn modelId="{E95DEDCD-E639-4681-B3BF-E1431BC6DFA6}" srcId="{A59B4540-F222-4086-AAFC-A113D7BDE162}" destId="{008B10D0-EE38-40FA-B038-E04A25D2E926}" srcOrd="0" destOrd="0" parTransId="{A20D537C-611D-47F2-9364-B0DD7681BD80}" sibTransId="{6F8EB865-ED2F-4BE4-9D23-F6925B4D7321}"/>
    <dgm:cxn modelId="{3AFD25D5-D0A1-4BD7-9EFF-4966A7B67A9A}" type="presOf" srcId="{6A6976DE-82BF-416A-A606-CBE926F222EA}" destId="{C1E200FE-696A-49DD-830B-906D7B71BC21}" srcOrd="0" destOrd="0" presId="urn:microsoft.com/office/officeart/2005/8/layout/hList1"/>
    <dgm:cxn modelId="{1410E5E3-494D-43F6-9978-F0C3C4BEB755}" type="presOf" srcId="{E07CB115-F6B3-49DE-A65E-10FB0511CEEB}" destId="{E25F9C7E-32D6-4368-860E-39A16C992369}" srcOrd="0" destOrd="0" presId="urn:microsoft.com/office/officeart/2005/8/layout/hList1"/>
    <dgm:cxn modelId="{A79154F5-703C-48E6-9F63-14C60CD84A80}" srcId="{E07CB115-F6B3-49DE-A65E-10FB0511CEEB}" destId="{D1070165-8BAC-4F21-8954-C42875C01AD9}" srcOrd="0" destOrd="0" parTransId="{C3B81A18-BF96-4539-B06F-44D3978DAB56}" sibTransId="{7F3DCFC7-62DB-4D92-B185-106E48028C6A}"/>
    <dgm:cxn modelId="{B76E1363-ED7E-4671-B38B-5C1E04183BCC}" type="presParOf" srcId="{E5DD44AF-62AC-41A8-B7B0-FAA62CC35574}" destId="{CC77E65E-BC20-4E20-B618-8D4FD5648BA4}" srcOrd="0" destOrd="0" presId="urn:microsoft.com/office/officeart/2005/8/layout/hList1"/>
    <dgm:cxn modelId="{B6A65054-7F24-47F1-B090-634B543BD988}" type="presParOf" srcId="{CC77E65E-BC20-4E20-B618-8D4FD5648BA4}" destId="{24F56436-C912-4EFA-A0F7-702F3A8FB9C1}" srcOrd="0" destOrd="0" presId="urn:microsoft.com/office/officeart/2005/8/layout/hList1"/>
    <dgm:cxn modelId="{CDDCACF6-D051-462D-BCCA-1C374835CDD5}" type="presParOf" srcId="{CC77E65E-BC20-4E20-B618-8D4FD5648BA4}" destId="{CC0125E5-5762-4FF7-BC85-26306A4504B6}" srcOrd="1" destOrd="0" presId="urn:microsoft.com/office/officeart/2005/8/layout/hList1"/>
    <dgm:cxn modelId="{6C6CD105-1D9C-4B61-99CC-5B4176C97D03}" type="presParOf" srcId="{E5DD44AF-62AC-41A8-B7B0-FAA62CC35574}" destId="{707CD929-2E07-4E5E-8ACC-4ADF0B1504E1}" srcOrd="1" destOrd="0" presId="urn:microsoft.com/office/officeart/2005/8/layout/hList1"/>
    <dgm:cxn modelId="{56750D00-A99F-43E4-A8AD-1E8ACCF7B9F0}" type="presParOf" srcId="{E5DD44AF-62AC-41A8-B7B0-FAA62CC35574}" destId="{205A492A-8E89-4B7A-89EF-BF86439D2DC7}" srcOrd="2" destOrd="0" presId="urn:microsoft.com/office/officeart/2005/8/layout/hList1"/>
    <dgm:cxn modelId="{751D2B8A-587A-4C32-B7C9-E24B22F0F62A}" type="presParOf" srcId="{205A492A-8E89-4B7A-89EF-BF86439D2DC7}" destId="{26DB24C0-A869-48DC-B864-4433E8857F61}" srcOrd="0" destOrd="0" presId="urn:microsoft.com/office/officeart/2005/8/layout/hList1"/>
    <dgm:cxn modelId="{31E102BB-CB6A-4FD9-A67E-0C85F51545E8}" type="presParOf" srcId="{205A492A-8E89-4B7A-89EF-BF86439D2DC7}" destId="{429BD5D6-8258-477F-8EBF-B7520562EC40}" srcOrd="1" destOrd="0" presId="urn:microsoft.com/office/officeart/2005/8/layout/hList1"/>
    <dgm:cxn modelId="{5E9B2778-2D96-4371-AE23-45F3B856ADE2}" type="presParOf" srcId="{E5DD44AF-62AC-41A8-B7B0-FAA62CC35574}" destId="{BC748B0E-A2B3-4EFD-8100-CE0019251C1A}" srcOrd="3" destOrd="0" presId="urn:microsoft.com/office/officeart/2005/8/layout/hList1"/>
    <dgm:cxn modelId="{8BBDF0E9-1888-4DC9-9C59-ED55B50F7003}" type="presParOf" srcId="{E5DD44AF-62AC-41A8-B7B0-FAA62CC35574}" destId="{23B5B803-3C5E-4F4C-88E7-F823B192272C}" srcOrd="4" destOrd="0" presId="urn:microsoft.com/office/officeart/2005/8/layout/hList1"/>
    <dgm:cxn modelId="{968FAFBF-0E6B-44AE-8234-803F7E7A604B}" type="presParOf" srcId="{23B5B803-3C5E-4F4C-88E7-F823B192272C}" destId="{C1E200FE-696A-49DD-830B-906D7B71BC21}" srcOrd="0" destOrd="0" presId="urn:microsoft.com/office/officeart/2005/8/layout/hList1"/>
    <dgm:cxn modelId="{47056608-0DFA-48D8-9DF5-A445CCF4405C}" type="presParOf" srcId="{23B5B803-3C5E-4F4C-88E7-F823B192272C}" destId="{DC1A2751-D74F-4774-8B5D-AA668E2609FA}" srcOrd="1" destOrd="0" presId="urn:microsoft.com/office/officeart/2005/8/layout/hList1"/>
    <dgm:cxn modelId="{655E6383-7319-4921-B943-F0CEFE9FB4BF}" type="presParOf" srcId="{E5DD44AF-62AC-41A8-B7B0-FAA62CC35574}" destId="{B7CFDFD4-6EC7-4D1F-873A-4CEC08CCCAEF}" srcOrd="5" destOrd="0" presId="urn:microsoft.com/office/officeart/2005/8/layout/hList1"/>
    <dgm:cxn modelId="{A0B1CE4C-CA6D-488E-9E6A-313E826B9549}" type="presParOf" srcId="{E5DD44AF-62AC-41A8-B7B0-FAA62CC35574}" destId="{8C9D5607-2D4E-4FED-A548-2E601EFA0FDD}" srcOrd="6" destOrd="0" presId="urn:microsoft.com/office/officeart/2005/8/layout/hList1"/>
    <dgm:cxn modelId="{E4A93B9E-CA71-456A-9AAC-4F2BED9CB585}" type="presParOf" srcId="{8C9D5607-2D4E-4FED-A548-2E601EFA0FDD}" destId="{E25F9C7E-32D6-4368-860E-39A16C992369}" srcOrd="0" destOrd="0" presId="urn:microsoft.com/office/officeart/2005/8/layout/hList1"/>
    <dgm:cxn modelId="{DB1A6F93-999E-4730-AB78-866A3F7A5C95}" type="presParOf" srcId="{8C9D5607-2D4E-4FED-A548-2E601EFA0FDD}" destId="{210CD6E9-D678-47FD-A3FD-A78B207EC39D}" srcOrd="1" destOrd="0" presId="urn:microsoft.com/office/officeart/2005/8/layout/hList1"/>
    <dgm:cxn modelId="{A4F05DC4-D5B6-4704-813F-B7FC88199D55}" type="presParOf" srcId="{E5DD44AF-62AC-41A8-B7B0-FAA62CC35574}" destId="{3391CFB5-CEB6-4696-BD25-9EB7E8F88F9A}" srcOrd="7" destOrd="0" presId="urn:microsoft.com/office/officeart/2005/8/layout/hList1"/>
    <dgm:cxn modelId="{0CD574AC-E612-436A-AD32-80C293C8430C}" type="presParOf" srcId="{E5DD44AF-62AC-41A8-B7B0-FAA62CC35574}" destId="{5CF3C054-B794-4185-BA1E-76E89674ABCA}" srcOrd="8" destOrd="0" presId="urn:microsoft.com/office/officeart/2005/8/layout/hList1"/>
    <dgm:cxn modelId="{5D30275D-DB31-45D1-9999-5095ACC46281}" type="presParOf" srcId="{5CF3C054-B794-4185-BA1E-76E89674ABCA}" destId="{F0B8ED99-457E-4863-A16F-E93A4FA18471}" srcOrd="0" destOrd="0" presId="urn:microsoft.com/office/officeart/2005/8/layout/hList1"/>
    <dgm:cxn modelId="{6D8AE625-8EFA-4447-B801-BBE6B4B7C306}" type="presParOf" srcId="{5CF3C054-B794-4185-BA1E-76E89674ABCA}" destId="{E37F1A26-BA2A-4D85-8FF4-F8C39FC2F32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AF014BD-279D-4385-80B1-798C48BC6BC4}"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nl-BE"/>
        </a:p>
      </dgm:t>
    </dgm:pt>
    <dgm:pt modelId="{3E8D3290-9ACB-430A-A16C-0D0DF216E2D3}">
      <dgm:prSet/>
      <dgm:spPr/>
      <dgm:t>
        <a:bodyPr/>
        <a:lstStyle/>
        <a:p>
          <a:r>
            <a:rPr lang="fr-BE"/>
            <a:t>Fonts</a:t>
          </a:r>
          <a:endParaRPr lang="nl-BE"/>
        </a:p>
      </dgm:t>
    </dgm:pt>
    <dgm:pt modelId="{E12BCEBF-5208-4D3F-9E16-1F11C67C6815}" type="parTrans" cxnId="{4EFF6F70-EBF4-45FE-8A1D-703E407F9E1E}">
      <dgm:prSet/>
      <dgm:spPr/>
      <dgm:t>
        <a:bodyPr/>
        <a:lstStyle/>
        <a:p>
          <a:endParaRPr lang="nl-BE"/>
        </a:p>
      </dgm:t>
    </dgm:pt>
    <dgm:pt modelId="{93E8A51F-67EA-4B4A-A993-DEE44E1C08AD}" type="sibTrans" cxnId="{4EFF6F70-EBF4-45FE-8A1D-703E407F9E1E}">
      <dgm:prSet/>
      <dgm:spPr/>
      <dgm:t>
        <a:bodyPr/>
        <a:lstStyle/>
        <a:p>
          <a:endParaRPr lang="nl-BE"/>
        </a:p>
      </dgm:t>
    </dgm:pt>
    <dgm:pt modelId="{CDD86BA7-991A-401E-AE7C-734CE12101C7}">
      <dgm:prSet/>
      <dgm:spPr/>
      <dgm:t>
        <a:bodyPr/>
        <a:lstStyle/>
        <a:p>
          <a:r>
            <a:rPr lang="fr-BE"/>
            <a:t>Sans serif font</a:t>
          </a:r>
          <a:endParaRPr lang="nl-BE"/>
        </a:p>
      </dgm:t>
    </dgm:pt>
    <dgm:pt modelId="{C4BCF953-2E88-480E-B698-1F0AB6C17132}" type="parTrans" cxnId="{A51428BE-B54B-4DB6-A83C-A3DAB3025F7D}">
      <dgm:prSet/>
      <dgm:spPr/>
      <dgm:t>
        <a:bodyPr/>
        <a:lstStyle/>
        <a:p>
          <a:endParaRPr lang="nl-BE"/>
        </a:p>
      </dgm:t>
    </dgm:pt>
    <dgm:pt modelId="{50EC4A46-A6C4-45BD-B4F8-E46CA965F75F}" type="sibTrans" cxnId="{A51428BE-B54B-4DB6-A83C-A3DAB3025F7D}">
      <dgm:prSet/>
      <dgm:spPr/>
      <dgm:t>
        <a:bodyPr/>
        <a:lstStyle/>
        <a:p>
          <a:endParaRPr lang="nl-BE"/>
        </a:p>
      </dgm:t>
    </dgm:pt>
    <dgm:pt modelId="{9AB85853-DE16-4B80-8DE4-A2C4C31D967E}">
      <dgm:prSet/>
      <dgm:spPr/>
      <dgm:t>
        <a:bodyPr/>
        <a:lstStyle/>
        <a:p>
          <a:r>
            <a:rPr lang="fr-BE" dirty="0"/>
            <a:t>2-3 sizes</a:t>
          </a:r>
          <a:endParaRPr lang="nl-BE" dirty="0"/>
        </a:p>
      </dgm:t>
    </dgm:pt>
    <dgm:pt modelId="{74BCA803-CA16-414F-A5A5-B84409E86B75}" type="parTrans" cxnId="{A2548F61-D008-421E-9F69-754A7CA6876B}">
      <dgm:prSet/>
      <dgm:spPr/>
      <dgm:t>
        <a:bodyPr/>
        <a:lstStyle/>
        <a:p>
          <a:endParaRPr lang="nl-BE"/>
        </a:p>
      </dgm:t>
    </dgm:pt>
    <dgm:pt modelId="{9A53D9E5-63F7-4652-8687-8C45CEB34F17}" type="sibTrans" cxnId="{A2548F61-D008-421E-9F69-754A7CA6876B}">
      <dgm:prSet/>
      <dgm:spPr/>
      <dgm:t>
        <a:bodyPr/>
        <a:lstStyle/>
        <a:p>
          <a:endParaRPr lang="nl-BE"/>
        </a:p>
      </dgm:t>
    </dgm:pt>
    <dgm:pt modelId="{A04B7619-B16E-4F61-BE0F-CD26F2592D9B}">
      <dgm:prSet/>
      <dgm:spPr/>
      <dgm:t>
        <a:bodyPr/>
        <a:lstStyle/>
        <a:p>
          <a:r>
            <a:rPr lang="fr-BE" dirty="0" err="1"/>
            <a:t>Larger</a:t>
          </a:r>
          <a:r>
            <a:rPr lang="fr-BE" dirty="0"/>
            <a:t> sizes - 24pt and up</a:t>
          </a:r>
          <a:endParaRPr lang="nl-BE" dirty="0"/>
        </a:p>
      </dgm:t>
    </dgm:pt>
    <dgm:pt modelId="{96CB4444-3FBE-42BE-BFC8-CDB547472AC1}" type="parTrans" cxnId="{7210607A-3BBF-4BBF-B0E4-F41834C2027D}">
      <dgm:prSet/>
      <dgm:spPr/>
      <dgm:t>
        <a:bodyPr/>
        <a:lstStyle/>
        <a:p>
          <a:endParaRPr lang="nl-BE"/>
        </a:p>
      </dgm:t>
    </dgm:pt>
    <dgm:pt modelId="{8B3E2C67-C58B-46DD-9DA6-971DA9631C9B}" type="sibTrans" cxnId="{7210607A-3BBF-4BBF-B0E4-F41834C2027D}">
      <dgm:prSet/>
      <dgm:spPr/>
      <dgm:t>
        <a:bodyPr/>
        <a:lstStyle/>
        <a:p>
          <a:endParaRPr lang="nl-BE"/>
        </a:p>
      </dgm:t>
    </dgm:pt>
    <dgm:pt modelId="{C4ECDDEC-9003-4578-89D2-04F2C8EAC099}">
      <dgm:prSet/>
      <dgm:spPr/>
      <dgm:t>
        <a:bodyPr/>
        <a:lstStyle/>
        <a:p>
          <a:r>
            <a:rPr lang="fr-BE" b="1" dirty="0">
              <a:solidFill>
                <a:schemeClr val="bg2">
                  <a:lumMod val="75000"/>
                </a:schemeClr>
              </a:solidFill>
            </a:rPr>
            <a:t>Bold/</a:t>
          </a:r>
          <a:r>
            <a:rPr lang="fr-BE" b="1" dirty="0" err="1">
              <a:solidFill>
                <a:schemeClr val="bg2">
                  <a:lumMod val="75000"/>
                </a:schemeClr>
              </a:solidFill>
            </a:rPr>
            <a:t>contrast</a:t>
          </a:r>
          <a:r>
            <a:rPr lang="fr-BE" b="1" dirty="0">
              <a:solidFill>
                <a:schemeClr val="bg2">
                  <a:lumMod val="75000"/>
                </a:schemeClr>
              </a:solidFill>
            </a:rPr>
            <a:t> </a:t>
          </a:r>
          <a:r>
            <a:rPr lang="fr-BE" dirty="0"/>
            <a:t>to </a:t>
          </a:r>
          <a:r>
            <a:rPr lang="fr-BE" dirty="0" err="1"/>
            <a:t>emphasize</a:t>
          </a:r>
          <a:endParaRPr lang="nl-BE" dirty="0"/>
        </a:p>
      </dgm:t>
    </dgm:pt>
    <dgm:pt modelId="{2666C446-0C97-4474-AF22-E7335A9ADF8B}" type="parTrans" cxnId="{7F5E0441-001C-41AA-85E5-5AA4CC48D53B}">
      <dgm:prSet/>
      <dgm:spPr/>
      <dgm:t>
        <a:bodyPr/>
        <a:lstStyle/>
        <a:p>
          <a:endParaRPr lang="nl-BE"/>
        </a:p>
      </dgm:t>
    </dgm:pt>
    <dgm:pt modelId="{7CD187D9-32F8-4062-9EFF-0D8C0EDDDCA9}" type="sibTrans" cxnId="{7F5E0441-001C-41AA-85E5-5AA4CC48D53B}">
      <dgm:prSet/>
      <dgm:spPr/>
      <dgm:t>
        <a:bodyPr/>
        <a:lstStyle/>
        <a:p>
          <a:endParaRPr lang="nl-BE"/>
        </a:p>
      </dgm:t>
    </dgm:pt>
    <dgm:pt modelId="{5E9A406F-67A8-42EC-823A-C0FC93AAE7A8}">
      <dgm:prSet/>
      <dgm:spPr/>
      <dgm:t>
        <a:bodyPr/>
        <a:lstStyle/>
        <a:p>
          <a:r>
            <a:rPr lang="fr-BE"/>
            <a:t>Minimize text</a:t>
          </a:r>
          <a:endParaRPr lang="nl-BE"/>
        </a:p>
      </dgm:t>
    </dgm:pt>
    <dgm:pt modelId="{833EC534-0661-46F1-8633-E5DAA07596EF}" type="parTrans" cxnId="{44D519CD-A5A4-4380-813D-433FC70AD55A}">
      <dgm:prSet/>
      <dgm:spPr/>
      <dgm:t>
        <a:bodyPr/>
        <a:lstStyle/>
        <a:p>
          <a:endParaRPr lang="nl-BE"/>
        </a:p>
      </dgm:t>
    </dgm:pt>
    <dgm:pt modelId="{BC3D4091-DB6F-435E-B8FC-F438C8332CDF}" type="sibTrans" cxnId="{44D519CD-A5A4-4380-813D-433FC70AD55A}">
      <dgm:prSet/>
      <dgm:spPr/>
      <dgm:t>
        <a:bodyPr/>
        <a:lstStyle/>
        <a:p>
          <a:endParaRPr lang="nl-BE"/>
        </a:p>
      </dgm:t>
    </dgm:pt>
    <dgm:pt modelId="{51ED8179-5ADB-49A2-B727-272B6EFE5EA6}">
      <dgm:prSet/>
      <dgm:spPr/>
      <dgm:t>
        <a:bodyPr/>
        <a:lstStyle/>
        <a:p>
          <a:r>
            <a:rPr lang="fr-BE"/>
            <a:t>Simple key words</a:t>
          </a:r>
          <a:endParaRPr lang="nl-BE"/>
        </a:p>
      </dgm:t>
    </dgm:pt>
    <dgm:pt modelId="{1E0D489E-8622-4AE7-886B-5E880543B89F}" type="parTrans" cxnId="{06433ED4-5067-42BE-9D33-63CDE02ABA91}">
      <dgm:prSet/>
      <dgm:spPr/>
      <dgm:t>
        <a:bodyPr/>
        <a:lstStyle/>
        <a:p>
          <a:endParaRPr lang="nl-BE"/>
        </a:p>
      </dgm:t>
    </dgm:pt>
    <dgm:pt modelId="{E9AF8EAF-3713-4A89-97A8-6EEA90B5AB94}" type="sibTrans" cxnId="{06433ED4-5067-42BE-9D33-63CDE02ABA91}">
      <dgm:prSet/>
      <dgm:spPr/>
      <dgm:t>
        <a:bodyPr/>
        <a:lstStyle/>
        <a:p>
          <a:endParaRPr lang="nl-BE"/>
        </a:p>
      </dgm:t>
    </dgm:pt>
    <dgm:pt modelId="{2CD58306-71D7-458B-B247-F29982695999}">
      <dgm:prSet/>
      <dgm:spPr/>
      <dgm:t>
        <a:bodyPr/>
        <a:lstStyle/>
        <a:p>
          <a:r>
            <a:rPr lang="fr-BE" dirty="0"/>
            <a:t>Short sentences – 1/6/6 </a:t>
          </a:r>
          <a:r>
            <a:rPr lang="fr-BE" dirty="0" err="1"/>
            <a:t>rule</a:t>
          </a:r>
          <a:endParaRPr lang="nl-BE" dirty="0"/>
        </a:p>
      </dgm:t>
    </dgm:pt>
    <dgm:pt modelId="{6978EB28-11F5-4F4F-B195-A3AFF998E629}" type="parTrans" cxnId="{51F7BC15-B73C-4889-90AC-E671DB14A092}">
      <dgm:prSet/>
      <dgm:spPr/>
      <dgm:t>
        <a:bodyPr/>
        <a:lstStyle/>
        <a:p>
          <a:endParaRPr lang="nl-BE"/>
        </a:p>
      </dgm:t>
    </dgm:pt>
    <dgm:pt modelId="{DBAFCE94-CB10-4FC9-98CE-BD15E57E50AD}" type="sibTrans" cxnId="{51F7BC15-B73C-4889-90AC-E671DB14A092}">
      <dgm:prSet/>
      <dgm:spPr/>
      <dgm:t>
        <a:bodyPr/>
        <a:lstStyle/>
        <a:p>
          <a:endParaRPr lang="nl-BE"/>
        </a:p>
      </dgm:t>
    </dgm:pt>
    <dgm:pt modelId="{67F09C40-811E-48BF-9D77-79E322B64B74}">
      <dgm:prSet/>
      <dgm:spPr/>
      <dgm:t>
        <a:bodyPr/>
        <a:lstStyle/>
        <a:p>
          <a:r>
            <a:rPr lang="fr-BE"/>
            <a:t>Round figures</a:t>
          </a:r>
          <a:endParaRPr lang="nl-BE"/>
        </a:p>
      </dgm:t>
    </dgm:pt>
    <dgm:pt modelId="{3BEE9897-6A5E-4FDB-AD57-EA1517C493E4}" type="parTrans" cxnId="{03F980DD-B0A4-4EFE-8CF2-D15060B9E163}">
      <dgm:prSet/>
      <dgm:spPr/>
      <dgm:t>
        <a:bodyPr/>
        <a:lstStyle/>
        <a:p>
          <a:endParaRPr lang="nl-BE"/>
        </a:p>
      </dgm:t>
    </dgm:pt>
    <dgm:pt modelId="{724AF5B0-80E8-4081-AB8D-8BF94646D632}" type="sibTrans" cxnId="{03F980DD-B0A4-4EFE-8CF2-D15060B9E163}">
      <dgm:prSet/>
      <dgm:spPr/>
      <dgm:t>
        <a:bodyPr/>
        <a:lstStyle/>
        <a:p>
          <a:endParaRPr lang="nl-BE"/>
        </a:p>
      </dgm:t>
    </dgm:pt>
    <dgm:pt modelId="{B2DA21D6-57A7-41C6-98BF-7947623810AF}">
      <dgm:prSet/>
      <dgm:spPr/>
      <dgm:t>
        <a:bodyPr/>
        <a:lstStyle/>
        <a:p>
          <a:r>
            <a:rPr lang="fr-BE"/>
            <a:t>Use symbols to replace text</a:t>
          </a:r>
          <a:endParaRPr lang="nl-BE"/>
        </a:p>
      </dgm:t>
    </dgm:pt>
    <dgm:pt modelId="{C272D5F0-617E-4332-A35D-314C966DAAED}" type="parTrans" cxnId="{E976CBBF-7279-4C45-98A1-7E7691C5FD8F}">
      <dgm:prSet/>
      <dgm:spPr/>
      <dgm:t>
        <a:bodyPr/>
        <a:lstStyle/>
        <a:p>
          <a:endParaRPr lang="nl-BE"/>
        </a:p>
      </dgm:t>
    </dgm:pt>
    <dgm:pt modelId="{E3B658BC-0E1B-4D21-9BBE-DDA0B5DEE457}" type="sibTrans" cxnId="{E976CBBF-7279-4C45-98A1-7E7691C5FD8F}">
      <dgm:prSet/>
      <dgm:spPr/>
      <dgm:t>
        <a:bodyPr/>
        <a:lstStyle/>
        <a:p>
          <a:endParaRPr lang="nl-BE"/>
        </a:p>
      </dgm:t>
    </dgm:pt>
    <dgm:pt modelId="{421203F2-230D-48EC-AAB6-E7A6BF3AC02A}">
      <dgm:prSet/>
      <dgm:spPr/>
      <dgm:t>
        <a:bodyPr/>
        <a:lstStyle/>
        <a:p>
          <a:r>
            <a:rPr lang="fr-BE" dirty="0"/>
            <a:t>No </a:t>
          </a:r>
          <a:r>
            <a:rPr lang="fr-BE" dirty="0" err="1"/>
            <a:t>centering</a:t>
          </a:r>
          <a:r>
            <a:rPr lang="fr-BE" dirty="0"/>
            <a:t> / </a:t>
          </a:r>
          <a:r>
            <a:rPr lang="fr-BE" dirty="0" err="1"/>
            <a:t>capitals</a:t>
          </a:r>
          <a:r>
            <a:rPr lang="fr-BE" dirty="0"/>
            <a:t> / </a:t>
          </a:r>
          <a:r>
            <a:rPr lang="fr-BE" dirty="0" err="1"/>
            <a:t>italic</a:t>
          </a:r>
          <a:endParaRPr lang="nl-BE" dirty="0"/>
        </a:p>
      </dgm:t>
    </dgm:pt>
    <dgm:pt modelId="{CCBF0ABF-57B8-4BBC-8017-77BA43CCD0DE}" type="parTrans" cxnId="{E3F1F7CA-B892-4DBF-B2E5-04B7518C6FC6}">
      <dgm:prSet/>
      <dgm:spPr/>
      <dgm:t>
        <a:bodyPr/>
        <a:lstStyle/>
        <a:p>
          <a:endParaRPr lang="en-GB"/>
        </a:p>
      </dgm:t>
    </dgm:pt>
    <dgm:pt modelId="{CB727519-46F3-4647-AB0B-57B7422D3F88}" type="sibTrans" cxnId="{E3F1F7CA-B892-4DBF-B2E5-04B7518C6FC6}">
      <dgm:prSet/>
      <dgm:spPr/>
      <dgm:t>
        <a:bodyPr/>
        <a:lstStyle/>
        <a:p>
          <a:endParaRPr lang="en-GB"/>
        </a:p>
      </dgm:t>
    </dgm:pt>
    <dgm:pt modelId="{2A81257B-007B-4C3C-AC3B-0238BDC78098}" type="pres">
      <dgm:prSet presAssocID="{DAF014BD-279D-4385-80B1-798C48BC6BC4}" presName="diagram" presStyleCnt="0">
        <dgm:presLayoutVars>
          <dgm:dir/>
          <dgm:resizeHandles val="exact"/>
        </dgm:presLayoutVars>
      </dgm:prSet>
      <dgm:spPr/>
    </dgm:pt>
    <dgm:pt modelId="{E5D70C1B-6074-4427-8117-B8200FA1A709}" type="pres">
      <dgm:prSet presAssocID="{3E8D3290-9ACB-430A-A16C-0D0DF216E2D3}" presName="node" presStyleLbl="node1" presStyleIdx="0" presStyleCnt="2">
        <dgm:presLayoutVars>
          <dgm:bulletEnabled val="1"/>
        </dgm:presLayoutVars>
      </dgm:prSet>
      <dgm:spPr/>
    </dgm:pt>
    <dgm:pt modelId="{F01F62D3-B4D5-4570-A4F5-372801985C52}" type="pres">
      <dgm:prSet presAssocID="{93E8A51F-67EA-4B4A-A993-DEE44E1C08AD}" presName="sibTrans" presStyleCnt="0"/>
      <dgm:spPr/>
    </dgm:pt>
    <dgm:pt modelId="{20109238-ABE7-40DA-8972-E92525CA7C0D}" type="pres">
      <dgm:prSet presAssocID="{5E9A406F-67A8-42EC-823A-C0FC93AAE7A8}" presName="node" presStyleLbl="node1" presStyleIdx="1" presStyleCnt="2">
        <dgm:presLayoutVars>
          <dgm:bulletEnabled val="1"/>
        </dgm:presLayoutVars>
      </dgm:prSet>
      <dgm:spPr/>
    </dgm:pt>
  </dgm:ptLst>
  <dgm:cxnLst>
    <dgm:cxn modelId="{90A75903-29F5-4AB1-9C6F-994E72092E18}" type="presOf" srcId="{3E8D3290-9ACB-430A-A16C-0D0DF216E2D3}" destId="{E5D70C1B-6074-4427-8117-B8200FA1A709}" srcOrd="0" destOrd="0" presId="urn:microsoft.com/office/officeart/2005/8/layout/default"/>
    <dgm:cxn modelId="{51F7BC15-B73C-4889-90AC-E671DB14A092}" srcId="{5E9A406F-67A8-42EC-823A-C0FC93AAE7A8}" destId="{2CD58306-71D7-458B-B247-F29982695999}" srcOrd="1" destOrd="0" parTransId="{6978EB28-11F5-4F4F-B195-A3AFF998E629}" sibTransId="{DBAFCE94-CB10-4FC9-98CE-BD15E57E50AD}"/>
    <dgm:cxn modelId="{66CE8339-363A-4783-9B12-CE4741AE8F36}" type="presOf" srcId="{CDD86BA7-991A-401E-AE7C-734CE12101C7}" destId="{E5D70C1B-6074-4427-8117-B8200FA1A709}" srcOrd="0" destOrd="1" presId="urn:microsoft.com/office/officeart/2005/8/layout/default"/>
    <dgm:cxn modelId="{1D03DE5D-49D8-4671-B660-AC44AADFD8E9}" type="presOf" srcId="{B2DA21D6-57A7-41C6-98BF-7947623810AF}" destId="{20109238-ABE7-40DA-8972-E92525CA7C0D}" srcOrd="0" destOrd="4" presId="urn:microsoft.com/office/officeart/2005/8/layout/default"/>
    <dgm:cxn modelId="{7F5E0441-001C-41AA-85E5-5AA4CC48D53B}" srcId="{3E8D3290-9ACB-430A-A16C-0D0DF216E2D3}" destId="{C4ECDDEC-9003-4578-89D2-04F2C8EAC099}" srcOrd="3" destOrd="0" parTransId="{2666C446-0C97-4474-AF22-E7335A9ADF8B}" sibTransId="{7CD187D9-32F8-4062-9EFF-0D8C0EDDDCA9}"/>
    <dgm:cxn modelId="{A2548F61-D008-421E-9F69-754A7CA6876B}" srcId="{3E8D3290-9ACB-430A-A16C-0D0DF216E2D3}" destId="{9AB85853-DE16-4B80-8DE4-A2C4C31D967E}" srcOrd="1" destOrd="0" parTransId="{74BCA803-CA16-414F-A5A5-B84409E86B75}" sibTransId="{9A53D9E5-63F7-4652-8687-8C45CEB34F17}"/>
    <dgm:cxn modelId="{3CC76B6C-78D6-448B-B8CE-A249E2787BEC}" type="presOf" srcId="{421203F2-230D-48EC-AAB6-E7A6BF3AC02A}" destId="{E5D70C1B-6074-4427-8117-B8200FA1A709}" srcOrd="0" destOrd="5" presId="urn:microsoft.com/office/officeart/2005/8/layout/default"/>
    <dgm:cxn modelId="{3073F16C-D347-4A21-BCCB-8E7C6507B4B4}" type="presOf" srcId="{2CD58306-71D7-458B-B247-F29982695999}" destId="{20109238-ABE7-40DA-8972-E92525CA7C0D}" srcOrd="0" destOrd="2" presId="urn:microsoft.com/office/officeart/2005/8/layout/default"/>
    <dgm:cxn modelId="{4EFF6F70-EBF4-45FE-8A1D-703E407F9E1E}" srcId="{DAF014BD-279D-4385-80B1-798C48BC6BC4}" destId="{3E8D3290-9ACB-430A-A16C-0D0DF216E2D3}" srcOrd="0" destOrd="0" parTransId="{E12BCEBF-5208-4D3F-9E16-1F11C67C6815}" sibTransId="{93E8A51F-67EA-4B4A-A993-DEE44E1C08AD}"/>
    <dgm:cxn modelId="{2C079759-1425-4C78-BA43-5ACBE3133C04}" type="presOf" srcId="{DAF014BD-279D-4385-80B1-798C48BC6BC4}" destId="{2A81257B-007B-4C3C-AC3B-0238BDC78098}" srcOrd="0" destOrd="0" presId="urn:microsoft.com/office/officeart/2005/8/layout/default"/>
    <dgm:cxn modelId="{7210607A-3BBF-4BBF-B0E4-F41834C2027D}" srcId="{3E8D3290-9ACB-430A-A16C-0D0DF216E2D3}" destId="{A04B7619-B16E-4F61-BE0F-CD26F2592D9B}" srcOrd="2" destOrd="0" parTransId="{96CB4444-3FBE-42BE-BFC8-CDB547472AC1}" sibTransId="{8B3E2C67-C58B-46DD-9DA6-971DA9631C9B}"/>
    <dgm:cxn modelId="{AE83FF7D-B8D6-4B9D-9B54-2156F6CC4A24}" type="presOf" srcId="{51ED8179-5ADB-49A2-B727-272B6EFE5EA6}" destId="{20109238-ABE7-40DA-8972-E92525CA7C0D}" srcOrd="0" destOrd="1" presId="urn:microsoft.com/office/officeart/2005/8/layout/default"/>
    <dgm:cxn modelId="{65646988-D672-432A-B770-C82E927AE83B}" type="presOf" srcId="{C4ECDDEC-9003-4578-89D2-04F2C8EAC099}" destId="{E5D70C1B-6074-4427-8117-B8200FA1A709}" srcOrd="0" destOrd="4" presId="urn:microsoft.com/office/officeart/2005/8/layout/default"/>
    <dgm:cxn modelId="{34E3559F-7DC2-4CDB-BA5E-6B3678E4EC24}" type="presOf" srcId="{A04B7619-B16E-4F61-BE0F-CD26F2592D9B}" destId="{E5D70C1B-6074-4427-8117-B8200FA1A709}" srcOrd="0" destOrd="3" presId="urn:microsoft.com/office/officeart/2005/8/layout/default"/>
    <dgm:cxn modelId="{C67F9DAE-EA6E-40C3-BC63-A0FCB325D97A}" type="presOf" srcId="{9AB85853-DE16-4B80-8DE4-A2C4C31D967E}" destId="{E5D70C1B-6074-4427-8117-B8200FA1A709}" srcOrd="0" destOrd="2" presId="urn:microsoft.com/office/officeart/2005/8/layout/default"/>
    <dgm:cxn modelId="{1E739BBC-793C-4431-9ABE-330FE787C683}" type="presOf" srcId="{67F09C40-811E-48BF-9D77-79E322B64B74}" destId="{20109238-ABE7-40DA-8972-E92525CA7C0D}" srcOrd="0" destOrd="3" presId="urn:microsoft.com/office/officeart/2005/8/layout/default"/>
    <dgm:cxn modelId="{A51428BE-B54B-4DB6-A83C-A3DAB3025F7D}" srcId="{3E8D3290-9ACB-430A-A16C-0D0DF216E2D3}" destId="{CDD86BA7-991A-401E-AE7C-734CE12101C7}" srcOrd="0" destOrd="0" parTransId="{C4BCF953-2E88-480E-B698-1F0AB6C17132}" sibTransId="{50EC4A46-A6C4-45BD-B4F8-E46CA965F75F}"/>
    <dgm:cxn modelId="{E976CBBF-7279-4C45-98A1-7E7691C5FD8F}" srcId="{5E9A406F-67A8-42EC-823A-C0FC93AAE7A8}" destId="{B2DA21D6-57A7-41C6-98BF-7947623810AF}" srcOrd="3" destOrd="0" parTransId="{C272D5F0-617E-4332-A35D-314C966DAAED}" sibTransId="{E3B658BC-0E1B-4D21-9BBE-DDA0B5DEE457}"/>
    <dgm:cxn modelId="{E3F1F7CA-B892-4DBF-B2E5-04B7518C6FC6}" srcId="{3E8D3290-9ACB-430A-A16C-0D0DF216E2D3}" destId="{421203F2-230D-48EC-AAB6-E7A6BF3AC02A}" srcOrd="4" destOrd="0" parTransId="{CCBF0ABF-57B8-4BBC-8017-77BA43CCD0DE}" sibTransId="{CB727519-46F3-4647-AB0B-57B7422D3F88}"/>
    <dgm:cxn modelId="{44D519CD-A5A4-4380-813D-433FC70AD55A}" srcId="{DAF014BD-279D-4385-80B1-798C48BC6BC4}" destId="{5E9A406F-67A8-42EC-823A-C0FC93AAE7A8}" srcOrd="1" destOrd="0" parTransId="{833EC534-0661-46F1-8633-E5DAA07596EF}" sibTransId="{BC3D4091-DB6F-435E-B8FC-F438C8332CDF}"/>
    <dgm:cxn modelId="{06433ED4-5067-42BE-9D33-63CDE02ABA91}" srcId="{5E9A406F-67A8-42EC-823A-C0FC93AAE7A8}" destId="{51ED8179-5ADB-49A2-B727-272B6EFE5EA6}" srcOrd="0" destOrd="0" parTransId="{1E0D489E-8622-4AE7-886B-5E880543B89F}" sibTransId="{E9AF8EAF-3713-4A89-97A8-6EEA90B5AB94}"/>
    <dgm:cxn modelId="{03F980DD-B0A4-4EFE-8CF2-D15060B9E163}" srcId="{5E9A406F-67A8-42EC-823A-C0FC93AAE7A8}" destId="{67F09C40-811E-48BF-9D77-79E322B64B74}" srcOrd="2" destOrd="0" parTransId="{3BEE9897-6A5E-4FDB-AD57-EA1517C493E4}" sibTransId="{724AF5B0-80E8-4081-AB8D-8BF94646D632}"/>
    <dgm:cxn modelId="{469F36F5-FA0D-420A-A83D-CEEAB3A1D723}" type="presOf" srcId="{5E9A406F-67A8-42EC-823A-C0FC93AAE7A8}" destId="{20109238-ABE7-40DA-8972-E92525CA7C0D}" srcOrd="0" destOrd="0" presId="urn:microsoft.com/office/officeart/2005/8/layout/default"/>
    <dgm:cxn modelId="{94546090-E0F6-42F8-B578-EA8649E3D826}" type="presParOf" srcId="{2A81257B-007B-4C3C-AC3B-0238BDC78098}" destId="{E5D70C1B-6074-4427-8117-B8200FA1A709}" srcOrd="0" destOrd="0" presId="urn:microsoft.com/office/officeart/2005/8/layout/default"/>
    <dgm:cxn modelId="{68F41DFE-3F83-44F7-88CC-4BCEB6978696}" type="presParOf" srcId="{2A81257B-007B-4C3C-AC3B-0238BDC78098}" destId="{F01F62D3-B4D5-4570-A4F5-372801985C52}" srcOrd="1" destOrd="0" presId="urn:microsoft.com/office/officeart/2005/8/layout/default"/>
    <dgm:cxn modelId="{4760743D-5140-4D80-8B20-9F725FF865A2}" type="presParOf" srcId="{2A81257B-007B-4C3C-AC3B-0238BDC78098}" destId="{20109238-ABE7-40DA-8972-E92525CA7C0D}"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AE80E36-BA3F-4F62-88DB-A2A301DEFF56}" type="doc">
      <dgm:prSet loTypeId="urn:microsoft.com/office/officeart/2005/8/layout/radial4" loCatId="relationship" qsTypeId="urn:microsoft.com/office/officeart/2005/8/quickstyle/simple1" qsCatId="simple" csTypeId="urn:microsoft.com/office/officeart/2005/8/colors/colorful1" csCatId="colorful" phldr="1"/>
      <dgm:spPr/>
      <dgm:t>
        <a:bodyPr/>
        <a:lstStyle/>
        <a:p>
          <a:endParaRPr lang="en-GB"/>
        </a:p>
      </dgm:t>
    </dgm:pt>
    <dgm:pt modelId="{8A508C1A-56D1-483F-8D3D-6F6EECC4BD7B}">
      <dgm:prSet custT="1"/>
      <dgm:spPr/>
      <dgm:t>
        <a:bodyPr/>
        <a:lstStyle/>
        <a:p>
          <a:r>
            <a:rPr lang="en-GB" sz="1800" dirty="0"/>
            <a:t>Use short, meaningful, compact phrases</a:t>
          </a:r>
        </a:p>
      </dgm:t>
    </dgm:pt>
    <dgm:pt modelId="{A1DC0288-62CA-421A-8FEC-196BDA8FB840}" type="parTrans" cxnId="{9563F5E4-482B-42B5-B62C-D9B260A406AA}">
      <dgm:prSet/>
      <dgm:spPr/>
      <dgm:t>
        <a:bodyPr/>
        <a:lstStyle/>
        <a:p>
          <a:endParaRPr lang="en-GB"/>
        </a:p>
      </dgm:t>
    </dgm:pt>
    <dgm:pt modelId="{FB7A2E47-1A91-4AF8-B541-55752484F5F5}" type="sibTrans" cxnId="{9563F5E4-482B-42B5-B62C-D9B260A406AA}">
      <dgm:prSet/>
      <dgm:spPr/>
      <dgm:t>
        <a:bodyPr/>
        <a:lstStyle/>
        <a:p>
          <a:endParaRPr lang="en-GB"/>
        </a:p>
      </dgm:t>
    </dgm:pt>
    <dgm:pt modelId="{28F7A28D-C955-4677-AE2C-670AD3537EF0}">
      <dgm:prSet custT="1"/>
      <dgm:spPr/>
      <dgm:t>
        <a:bodyPr/>
        <a:lstStyle/>
        <a:p>
          <a:r>
            <a:rPr lang="en-GB" sz="1800" dirty="0"/>
            <a:t>Develop 1 idea at the time</a:t>
          </a:r>
        </a:p>
      </dgm:t>
    </dgm:pt>
    <dgm:pt modelId="{0B439974-89B5-4DE6-8CC4-427672A72A00}" type="parTrans" cxnId="{1292A606-4864-4854-A69F-CD8110727E3C}">
      <dgm:prSet/>
      <dgm:spPr/>
      <dgm:t>
        <a:bodyPr/>
        <a:lstStyle/>
        <a:p>
          <a:endParaRPr lang="en-GB"/>
        </a:p>
      </dgm:t>
    </dgm:pt>
    <dgm:pt modelId="{42A0C333-D0AC-4016-A9A0-E73FBC7B146E}" type="sibTrans" cxnId="{1292A606-4864-4854-A69F-CD8110727E3C}">
      <dgm:prSet/>
      <dgm:spPr/>
      <dgm:t>
        <a:bodyPr/>
        <a:lstStyle/>
        <a:p>
          <a:endParaRPr lang="en-GB"/>
        </a:p>
      </dgm:t>
    </dgm:pt>
    <dgm:pt modelId="{E4027F1F-1C56-4BA9-A4AD-F0CCB8981899}">
      <dgm:prSet custT="1"/>
      <dgm:spPr/>
      <dgm:t>
        <a:bodyPr/>
        <a:lstStyle/>
        <a:p>
          <a:r>
            <a:rPr lang="en-GB" sz="1800" dirty="0"/>
            <a:t>What is my main message? (title)</a:t>
          </a:r>
        </a:p>
      </dgm:t>
    </dgm:pt>
    <dgm:pt modelId="{89576421-14C7-4958-81F5-8E99C94EE748}" type="parTrans" cxnId="{C07DE769-797E-45D8-98A9-96EA2CEA3259}">
      <dgm:prSet/>
      <dgm:spPr/>
      <dgm:t>
        <a:bodyPr/>
        <a:lstStyle/>
        <a:p>
          <a:endParaRPr lang="en-GB"/>
        </a:p>
      </dgm:t>
    </dgm:pt>
    <dgm:pt modelId="{B6E19828-2476-4D43-8BE1-D3B20DF2F484}" type="sibTrans" cxnId="{C07DE769-797E-45D8-98A9-96EA2CEA3259}">
      <dgm:prSet/>
      <dgm:spPr/>
      <dgm:t>
        <a:bodyPr/>
        <a:lstStyle/>
        <a:p>
          <a:endParaRPr lang="en-GB"/>
        </a:p>
      </dgm:t>
    </dgm:pt>
    <dgm:pt modelId="{18AD084B-C4CA-4DD7-8181-C2518BE0A621}">
      <dgm:prSet custT="1"/>
      <dgm:spPr/>
      <dgm:t>
        <a:bodyPr/>
        <a:lstStyle/>
        <a:p>
          <a:r>
            <a:rPr lang="en-GB" sz="1800" dirty="0"/>
            <a:t>What, when, who, why, where, how?</a:t>
          </a:r>
        </a:p>
      </dgm:t>
    </dgm:pt>
    <dgm:pt modelId="{A90A26D3-61FB-43C2-9410-4DBD2C8C42BE}" type="parTrans" cxnId="{3E8A59C0-87A4-42BA-BCD3-9438A269B780}">
      <dgm:prSet/>
      <dgm:spPr/>
      <dgm:t>
        <a:bodyPr/>
        <a:lstStyle/>
        <a:p>
          <a:endParaRPr lang="en-GB"/>
        </a:p>
      </dgm:t>
    </dgm:pt>
    <dgm:pt modelId="{192E33A6-981A-403C-9E70-1E779CBBCE0B}" type="sibTrans" cxnId="{3E8A59C0-87A4-42BA-BCD3-9438A269B780}">
      <dgm:prSet/>
      <dgm:spPr/>
      <dgm:t>
        <a:bodyPr/>
        <a:lstStyle/>
        <a:p>
          <a:endParaRPr lang="en-GB"/>
        </a:p>
      </dgm:t>
    </dgm:pt>
    <dgm:pt modelId="{314B43F7-1C8C-4A54-8123-1B1C14C8281C}">
      <dgm:prSet custT="1"/>
      <dgm:spPr/>
      <dgm:t>
        <a:bodyPr/>
        <a:lstStyle/>
        <a:p>
          <a:r>
            <a:rPr lang="en-GB" sz="1800" dirty="0"/>
            <a:t>Use a built-up structure - consider overall curve</a:t>
          </a:r>
        </a:p>
      </dgm:t>
    </dgm:pt>
    <dgm:pt modelId="{73A75D15-1576-40DF-8461-60CA154121EA}" type="parTrans" cxnId="{C64253D5-A032-489D-A818-CE4499A1100D}">
      <dgm:prSet/>
      <dgm:spPr/>
      <dgm:t>
        <a:bodyPr/>
        <a:lstStyle/>
        <a:p>
          <a:endParaRPr lang="en-GB"/>
        </a:p>
      </dgm:t>
    </dgm:pt>
    <dgm:pt modelId="{3406FE13-0900-46D0-9172-CBE9FC204309}" type="sibTrans" cxnId="{C64253D5-A032-489D-A818-CE4499A1100D}">
      <dgm:prSet/>
      <dgm:spPr/>
      <dgm:t>
        <a:bodyPr/>
        <a:lstStyle/>
        <a:p>
          <a:endParaRPr lang="en-GB"/>
        </a:p>
      </dgm:t>
    </dgm:pt>
    <dgm:pt modelId="{8DE2424B-9250-4232-8EFF-4C98DF32ED5C}">
      <dgm:prSet custT="1"/>
      <dgm:spPr/>
      <dgm:t>
        <a:bodyPr/>
        <a:lstStyle/>
        <a:p>
          <a:r>
            <a:rPr lang="en-GB" sz="1800" dirty="0"/>
            <a:t>Tailor the objectives - empathize </a:t>
          </a:r>
        </a:p>
      </dgm:t>
    </dgm:pt>
    <dgm:pt modelId="{2ECF2951-5A9D-4906-8FEC-26821DF94FB9}" type="parTrans" cxnId="{C296CAAF-3D5B-4A7C-9513-07265A0BBF0F}">
      <dgm:prSet/>
      <dgm:spPr/>
      <dgm:t>
        <a:bodyPr/>
        <a:lstStyle/>
        <a:p>
          <a:endParaRPr lang="en-GB"/>
        </a:p>
      </dgm:t>
    </dgm:pt>
    <dgm:pt modelId="{8416DCB9-2FA9-4EC2-A350-98EB58F9A48C}" type="sibTrans" cxnId="{C296CAAF-3D5B-4A7C-9513-07265A0BBF0F}">
      <dgm:prSet/>
      <dgm:spPr/>
      <dgm:t>
        <a:bodyPr/>
        <a:lstStyle/>
        <a:p>
          <a:endParaRPr lang="en-GB"/>
        </a:p>
      </dgm:t>
    </dgm:pt>
    <dgm:pt modelId="{773972FA-2746-406F-8FA1-62CD8DB7895C}">
      <dgm:prSet custT="1"/>
      <dgm:spPr/>
      <dgm:t>
        <a:bodyPr/>
        <a:lstStyle/>
        <a:p>
          <a:r>
            <a:rPr lang="en-GB" sz="1800" dirty="0"/>
            <a:t>Use paper hand-outs with strategic</a:t>
          </a:r>
        </a:p>
      </dgm:t>
    </dgm:pt>
    <dgm:pt modelId="{D5BEF351-5D12-4B69-BA6F-02A30455E299}" type="parTrans" cxnId="{D14D0034-920E-45D2-8142-A0CEA6610D0A}">
      <dgm:prSet/>
      <dgm:spPr/>
      <dgm:t>
        <a:bodyPr/>
        <a:lstStyle/>
        <a:p>
          <a:endParaRPr lang="en-GB"/>
        </a:p>
      </dgm:t>
    </dgm:pt>
    <dgm:pt modelId="{4B848919-D95A-4474-810A-4A49D133B086}" type="sibTrans" cxnId="{D14D0034-920E-45D2-8142-A0CEA6610D0A}">
      <dgm:prSet/>
      <dgm:spPr/>
      <dgm:t>
        <a:bodyPr/>
        <a:lstStyle/>
        <a:p>
          <a:endParaRPr lang="en-GB"/>
        </a:p>
      </dgm:t>
    </dgm:pt>
    <dgm:pt modelId="{0AB882AF-80B1-4C9B-BA98-663329BD27FB}">
      <dgm:prSet/>
      <dgm:spPr/>
      <dgm:t>
        <a:bodyPr/>
        <a:lstStyle/>
        <a:p>
          <a:r>
            <a:rPr lang="nl-BE" dirty="0" err="1"/>
            <a:t>Strategy</a:t>
          </a:r>
          <a:endParaRPr lang="en-GB" dirty="0"/>
        </a:p>
      </dgm:t>
    </dgm:pt>
    <dgm:pt modelId="{14819B9E-9771-4423-BBE6-4D342760BB89}" type="parTrans" cxnId="{462C9E12-A309-45B7-9A3A-709B0FEC2286}">
      <dgm:prSet/>
      <dgm:spPr/>
      <dgm:t>
        <a:bodyPr/>
        <a:lstStyle/>
        <a:p>
          <a:endParaRPr lang="en-GB"/>
        </a:p>
      </dgm:t>
    </dgm:pt>
    <dgm:pt modelId="{70040CB1-3F8C-4BEE-919F-AAAE61EACCD3}" type="sibTrans" cxnId="{462C9E12-A309-45B7-9A3A-709B0FEC2286}">
      <dgm:prSet/>
      <dgm:spPr/>
      <dgm:t>
        <a:bodyPr/>
        <a:lstStyle/>
        <a:p>
          <a:endParaRPr lang="en-GB"/>
        </a:p>
      </dgm:t>
    </dgm:pt>
    <dgm:pt modelId="{F6B90B54-40F3-4F30-8E45-AFF9FF010272}" type="pres">
      <dgm:prSet presAssocID="{7AE80E36-BA3F-4F62-88DB-A2A301DEFF56}" presName="cycle" presStyleCnt="0">
        <dgm:presLayoutVars>
          <dgm:chMax val="1"/>
          <dgm:dir/>
          <dgm:animLvl val="ctr"/>
          <dgm:resizeHandles val="exact"/>
        </dgm:presLayoutVars>
      </dgm:prSet>
      <dgm:spPr/>
    </dgm:pt>
    <dgm:pt modelId="{47C03C60-5802-4947-BAAF-0546CCF2977B}" type="pres">
      <dgm:prSet presAssocID="{0AB882AF-80B1-4C9B-BA98-663329BD27FB}" presName="centerShape" presStyleLbl="node0" presStyleIdx="0" presStyleCnt="1"/>
      <dgm:spPr/>
    </dgm:pt>
    <dgm:pt modelId="{4E146BBE-F512-47BD-9DF2-22F81A40A048}" type="pres">
      <dgm:prSet presAssocID="{A1DC0288-62CA-421A-8FEC-196BDA8FB840}" presName="parTrans" presStyleLbl="bgSibTrans2D1" presStyleIdx="0" presStyleCnt="7"/>
      <dgm:spPr/>
    </dgm:pt>
    <dgm:pt modelId="{3DC52DA2-958E-400D-A4B1-1A30703D8414}" type="pres">
      <dgm:prSet presAssocID="{8A508C1A-56D1-483F-8D3D-6F6EECC4BD7B}" presName="node" presStyleLbl="node1" presStyleIdx="0" presStyleCnt="7" custScaleX="113268" custScaleY="84951">
        <dgm:presLayoutVars>
          <dgm:bulletEnabled val="1"/>
        </dgm:presLayoutVars>
      </dgm:prSet>
      <dgm:spPr/>
    </dgm:pt>
    <dgm:pt modelId="{569B40B3-1002-47A7-A5B4-42C05F2E395E}" type="pres">
      <dgm:prSet presAssocID="{0B439974-89B5-4DE6-8CC4-427672A72A00}" presName="parTrans" presStyleLbl="bgSibTrans2D1" presStyleIdx="1" presStyleCnt="7"/>
      <dgm:spPr/>
    </dgm:pt>
    <dgm:pt modelId="{79F6DD87-D785-4431-8D74-38F65A0AE445}" type="pres">
      <dgm:prSet presAssocID="{28F7A28D-C955-4677-AE2C-670AD3537EF0}" presName="node" presStyleLbl="node1" presStyleIdx="1" presStyleCnt="7" custScaleX="113268" custScaleY="84951">
        <dgm:presLayoutVars>
          <dgm:bulletEnabled val="1"/>
        </dgm:presLayoutVars>
      </dgm:prSet>
      <dgm:spPr/>
    </dgm:pt>
    <dgm:pt modelId="{17E87D54-B164-46D5-B264-0EA58C9399E1}" type="pres">
      <dgm:prSet presAssocID="{89576421-14C7-4958-81F5-8E99C94EE748}" presName="parTrans" presStyleLbl="bgSibTrans2D1" presStyleIdx="2" presStyleCnt="7"/>
      <dgm:spPr/>
    </dgm:pt>
    <dgm:pt modelId="{B8963FFD-1FE2-49A7-9FB5-9F533A3CFF0D}" type="pres">
      <dgm:prSet presAssocID="{E4027F1F-1C56-4BA9-A4AD-F0CCB8981899}" presName="node" presStyleLbl="node1" presStyleIdx="2" presStyleCnt="7" custScaleX="113268" custScaleY="84951">
        <dgm:presLayoutVars>
          <dgm:bulletEnabled val="1"/>
        </dgm:presLayoutVars>
      </dgm:prSet>
      <dgm:spPr/>
    </dgm:pt>
    <dgm:pt modelId="{9D22763C-5152-450F-AEA3-13BD21E0D8ED}" type="pres">
      <dgm:prSet presAssocID="{A90A26D3-61FB-43C2-9410-4DBD2C8C42BE}" presName="parTrans" presStyleLbl="bgSibTrans2D1" presStyleIdx="3" presStyleCnt="7"/>
      <dgm:spPr/>
    </dgm:pt>
    <dgm:pt modelId="{80FFC2A7-EB29-4DE1-A8ED-C99082E58A2C}" type="pres">
      <dgm:prSet presAssocID="{18AD084B-C4CA-4DD7-8181-C2518BE0A621}" presName="node" presStyleLbl="node1" presStyleIdx="3" presStyleCnt="7" custScaleX="113268" custScaleY="84951">
        <dgm:presLayoutVars>
          <dgm:bulletEnabled val="1"/>
        </dgm:presLayoutVars>
      </dgm:prSet>
      <dgm:spPr/>
    </dgm:pt>
    <dgm:pt modelId="{34821464-1363-498B-991E-440C86410635}" type="pres">
      <dgm:prSet presAssocID="{73A75D15-1576-40DF-8461-60CA154121EA}" presName="parTrans" presStyleLbl="bgSibTrans2D1" presStyleIdx="4" presStyleCnt="7"/>
      <dgm:spPr/>
    </dgm:pt>
    <dgm:pt modelId="{37C0285A-C1B1-4BAF-A6AE-3A620EA62B99}" type="pres">
      <dgm:prSet presAssocID="{314B43F7-1C8C-4A54-8123-1B1C14C8281C}" presName="node" presStyleLbl="node1" presStyleIdx="4" presStyleCnt="7" custScaleX="113268" custScaleY="84951">
        <dgm:presLayoutVars>
          <dgm:bulletEnabled val="1"/>
        </dgm:presLayoutVars>
      </dgm:prSet>
      <dgm:spPr/>
    </dgm:pt>
    <dgm:pt modelId="{10CE5B70-622F-4DFA-8941-2DB61B328157}" type="pres">
      <dgm:prSet presAssocID="{2ECF2951-5A9D-4906-8FEC-26821DF94FB9}" presName="parTrans" presStyleLbl="bgSibTrans2D1" presStyleIdx="5" presStyleCnt="7"/>
      <dgm:spPr/>
    </dgm:pt>
    <dgm:pt modelId="{048FB0E1-5A8A-4E09-9509-3DB06E47AF2D}" type="pres">
      <dgm:prSet presAssocID="{8DE2424B-9250-4232-8EFF-4C98DF32ED5C}" presName="node" presStyleLbl="node1" presStyleIdx="5" presStyleCnt="7" custScaleX="113268" custScaleY="84951">
        <dgm:presLayoutVars>
          <dgm:bulletEnabled val="1"/>
        </dgm:presLayoutVars>
      </dgm:prSet>
      <dgm:spPr/>
    </dgm:pt>
    <dgm:pt modelId="{018DBB38-7F49-4F66-B28B-533F1C50174C}" type="pres">
      <dgm:prSet presAssocID="{D5BEF351-5D12-4B69-BA6F-02A30455E299}" presName="parTrans" presStyleLbl="bgSibTrans2D1" presStyleIdx="6" presStyleCnt="7"/>
      <dgm:spPr/>
    </dgm:pt>
    <dgm:pt modelId="{6877271A-F4BF-455C-B294-FF76AFB6B556}" type="pres">
      <dgm:prSet presAssocID="{773972FA-2746-406F-8FA1-62CD8DB7895C}" presName="node" presStyleLbl="node1" presStyleIdx="6" presStyleCnt="7" custScaleX="113268" custScaleY="84951">
        <dgm:presLayoutVars>
          <dgm:bulletEnabled val="1"/>
        </dgm:presLayoutVars>
      </dgm:prSet>
      <dgm:spPr/>
    </dgm:pt>
  </dgm:ptLst>
  <dgm:cxnLst>
    <dgm:cxn modelId="{D818A006-991A-43C7-95B7-247E5B874F57}" type="presOf" srcId="{E4027F1F-1C56-4BA9-A4AD-F0CCB8981899}" destId="{B8963FFD-1FE2-49A7-9FB5-9F533A3CFF0D}" srcOrd="0" destOrd="0" presId="urn:microsoft.com/office/officeart/2005/8/layout/radial4"/>
    <dgm:cxn modelId="{1292A606-4864-4854-A69F-CD8110727E3C}" srcId="{0AB882AF-80B1-4C9B-BA98-663329BD27FB}" destId="{28F7A28D-C955-4677-AE2C-670AD3537EF0}" srcOrd="1" destOrd="0" parTransId="{0B439974-89B5-4DE6-8CC4-427672A72A00}" sibTransId="{42A0C333-D0AC-4016-A9A0-E73FBC7B146E}"/>
    <dgm:cxn modelId="{462C9E12-A309-45B7-9A3A-709B0FEC2286}" srcId="{7AE80E36-BA3F-4F62-88DB-A2A301DEFF56}" destId="{0AB882AF-80B1-4C9B-BA98-663329BD27FB}" srcOrd="0" destOrd="0" parTransId="{14819B9E-9771-4423-BBE6-4D342760BB89}" sibTransId="{70040CB1-3F8C-4BEE-919F-AAAE61EACCD3}"/>
    <dgm:cxn modelId="{1231DC1E-B76C-413F-B641-609455887287}" type="presOf" srcId="{73A75D15-1576-40DF-8461-60CA154121EA}" destId="{34821464-1363-498B-991E-440C86410635}" srcOrd="0" destOrd="0" presId="urn:microsoft.com/office/officeart/2005/8/layout/radial4"/>
    <dgm:cxn modelId="{D14D0034-920E-45D2-8142-A0CEA6610D0A}" srcId="{0AB882AF-80B1-4C9B-BA98-663329BD27FB}" destId="{773972FA-2746-406F-8FA1-62CD8DB7895C}" srcOrd="6" destOrd="0" parTransId="{D5BEF351-5D12-4B69-BA6F-02A30455E299}" sibTransId="{4B848919-D95A-4474-810A-4A49D133B086}"/>
    <dgm:cxn modelId="{F9A1A566-4606-4DE3-B040-41A0361B1E00}" type="presOf" srcId="{28F7A28D-C955-4677-AE2C-670AD3537EF0}" destId="{79F6DD87-D785-4431-8D74-38F65A0AE445}" srcOrd="0" destOrd="0" presId="urn:microsoft.com/office/officeart/2005/8/layout/radial4"/>
    <dgm:cxn modelId="{3014EC68-3F4F-4128-AB57-5EF56FC942F4}" type="presOf" srcId="{773972FA-2746-406F-8FA1-62CD8DB7895C}" destId="{6877271A-F4BF-455C-B294-FF76AFB6B556}" srcOrd="0" destOrd="0" presId="urn:microsoft.com/office/officeart/2005/8/layout/radial4"/>
    <dgm:cxn modelId="{C07DE769-797E-45D8-98A9-96EA2CEA3259}" srcId="{0AB882AF-80B1-4C9B-BA98-663329BD27FB}" destId="{E4027F1F-1C56-4BA9-A4AD-F0CCB8981899}" srcOrd="2" destOrd="0" parTransId="{89576421-14C7-4958-81F5-8E99C94EE748}" sibTransId="{B6E19828-2476-4D43-8BE1-D3B20DF2F484}"/>
    <dgm:cxn modelId="{4EFC684E-CE1D-44C4-A3AD-77B1AD48075A}" type="presOf" srcId="{8DE2424B-9250-4232-8EFF-4C98DF32ED5C}" destId="{048FB0E1-5A8A-4E09-9509-3DB06E47AF2D}" srcOrd="0" destOrd="0" presId="urn:microsoft.com/office/officeart/2005/8/layout/radial4"/>
    <dgm:cxn modelId="{36CA7952-B645-41D1-AB4B-FC35E89095EB}" type="presOf" srcId="{D5BEF351-5D12-4B69-BA6F-02A30455E299}" destId="{018DBB38-7F49-4F66-B28B-533F1C50174C}" srcOrd="0" destOrd="0" presId="urn:microsoft.com/office/officeart/2005/8/layout/radial4"/>
    <dgm:cxn modelId="{B21FAA78-65FE-453E-AA18-02B785CC5D39}" type="presOf" srcId="{0B439974-89B5-4DE6-8CC4-427672A72A00}" destId="{569B40B3-1002-47A7-A5B4-42C05F2E395E}" srcOrd="0" destOrd="0" presId="urn:microsoft.com/office/officeart/2005/8/layout/radial4"/>
    <dgm:cxn modelId="{C9456A8B-7D07-4B74-B09D-5CC8B95777FF}" type="presOf" srcId="{18AD084B-C4CA-4DD7-8181-C2518BE0A621}" destId="{80FFC2A7-EB29-4DE1-A8ED-C99082E58A2C}" srcOrd="0" destOrd="0" presId="urn:microsoft.com/office/officeart/2005/8/layout/radial4"/>
    <dgm:cxn modelId="{00C0A78D-ED46-4D54-BA4A-92B2798E20BE}" type="presOf" srcId="{0AB882AF-80B1-4C9B-BA98-663329BD27FB}" destId="{47C03C60-5802-4947-BAAF-0546CCF2977B}" srcOrd="0" destOrd="0" presId="urn:microsoft.com/office/officeart/2005/8/layout/radial4"/>
    <dgm:cxn modelId="{CC5F4B93-5BB5-46A8-AA8A-6D8B89643FBF}" type="presOf" srcId="{8A508C1A-56D1-483F-8D3D-6F6EECC4BD7B}" destId="{3DC52DA2-958E-400D-A4B1-1A30703D8414}" srcOrd="0" destOrd="0" presId="urn:microsoft.com/office/officeart/2005/8/layout/radial4"/>
    <dgm:cxn modelId="{C296CAAF-3D5B-4A7C-9513-07265A0BBF0F}" srcId="{0AB882AF-80B1-4C9B-BA98-663329BD27FB}" destId="{8DE2424B-9250-4232-8EFF-4C98DF32ED5C}" srcOrd="5" destOrd="0" parTransId="{2ECF2951-5A9D-4906-8FEC-26821DF94FB9}" sibTransId="{8416DCB9-2FA9-4EC2-A350-98EB58F9A48C}"/>
    <dgm:cxn modelId="{46A401BE-2481-481C-8393-754487647B63}" type="presOf" srcId="{A90A26D3-61FB-43C2-9410-4DBD2C8C42BE}" destId="{9D22763C-5152-450F-AEA3-13BD21E0D8ED}" srcOrd="0" destOrd="0" presId="urn:microsoft.com/office/officeart/2005/8/layout/radial4"/>
    <dgm:cxn modelId="{3E8A59C0-87A4-42BA-BCD3-9438A269B780}" srcId="{0AB882AF-80B1-4C9B-BA98-663329BD27FB}" destId="{18AD084B-C4CA-4DD7-8181-C2518BE0A621}" srcOrd="3" destOrd="0" parTransId="{A90A26D3-61FB-43C2-9410-4DBD2C8C42BE}" sibTransId="{192E33A6-981A-403C-9E70-1E779CBBCE0B}"/>
    <dgm:cxn modelId="{C64253D5-A032-489D-A818-CE4499A1100D}" srcId="{0AB882AF-80B1-4C9B-BA98-663329BD27FB}" destId="{314B43F7-1C8C-4A54-8123-1B1C14C8281C}" srcOrd="4" destOrd="0" parTransId="{73A75D15-1576-40DF-8461-60CA154121EA}" sibTransId="{3406FE13-0900-46D0-9172-CBE9FC204309}"/>
    <dgm:cxn modelId="{184D04E4-95FB-44CF-B7EF-7E49DDA8A05B}" type="presOf" srcId="{89576421-14C7-4958-81F5-8E99C94EE748}" destId="{17E87D54-B164-46D5-B264-0EA58C9399E1}" srcOrd="0" destOrd="0" presId="urn:microsoft.com/office/officeart/2005/8/layout/radial4"/>
    <dgm:cxn modelId="{D28A31E4-8B35-4ECF-BEE8-774F90FBE8E3}" type="presOf" srcId="{7AE80E36-BA3F-4F62-88DB-A2A301DEFF56}" destId="{F6B90B54-40F3-4F30-8E45-AFF9FF010272}" srcOrd="0" destOrd="0" presId="urn:microsoft.com/office/officeart/2005/8/layout/radial4"/>
    <dgm:cxn modelId="{9563F5E4-482B-42B5-B62C-D9B260A406AA}" srcId="{0AB882AF-80B1-4C9B-BA98-663329BD27FB}" destId="{8A508C1A-56D1-483F-8D3D-6F6EECC4BD7B}" srcOrd="0" destOrd="0" parTransId="{A1DC0288-62CA-421A-8FEC-196BDA8FB840}" sibTransId="{FB7A2E47-1A91-4AF8-B541-55752484F5F5}"/>
    <dgm:cxn modelId="{04417BE9-9AC5-440D-B9F5-12E8D761B3BE}" type="presOf" srcId="{314B43F7-1C8C-4A54-8123-1B1C14C8281C}" destId="{37C0285A-C1B1-4BAF-A6AE-3A620EA62B99}" srcOrd="0" destOrd="0" presId="urn:microsoft.com/office/officeart/2005/8/layout/radial4"/>
    <dgm:cxn modelId="{DA525BF8-04C5-4D78-B829-1CC50E878987}" type="presOf" srcId="{2ECF2951-5A9D-4906-8FEC-26821DF94FB9}" destId="{10CE5B70-622F-4DFA-8941-2DB61B328157}" srcOrd="0" destOrd="0" presId="urn:microsoft.com/office/officeart/2005/8/layout/radial4"/>
    <dgm:cxn modelId="{D8F54EFD-5A08-4255-B8B5-27A4EB01CE51}" type="presOf" srcId="{A1DC0288-62CA-421A-8FEC-196BDA8FB840}" destId="{4E146BBE-F512-47BD-9DF2-22F81A40A048}" srcOrd="0" destOrd="0" presId="urn:microsoft.com/office/officeart/2005/8/layout/radial4"/>
    <dgm:cxn modelId="{47C35866-65FC-49EE-A3ED-E271BB58AF20}" type="presParOf" srcId="{F6B90B54-40F3-4F30-8E45-AFF9FF010272}" destId="{47C03C60-5802-4947-BAAF-0546CCF2977B}" srcOrd="0" destOrd="0" presId="urn:microsoft.com/office/officeart/2005/8/layout/radial4"/>
    <dgm:cxn modelId="{62CFA1EF-5900-4187-AAD7-F0DFBB88BD24}" type="presParOf" srcId="{F6B90B54-40F3-4F30-8E45-AFF9FF010272}" destId="{4E146BBE-F512-47BD-9DF2-22F81A40A048}" srcOrd="1" destOrd="0" presId="urn:microsoft.com/office/officeart/2005/8/layout/radial4"/>
    <dgm:cxn modelId="{435B84ED-2949-4E82-AD16-69E152BC563A}" type="presParOf" srcId="{F6B90B54-40F3-4F30-8E45-AFF9FF010272}" destId="{3DC52DA2-958E-400D-A4B1-1A30703D8414}" srcOrd="2" destOrd="0" presId="urn:microsoft.com/office/officeart/2005/8/layout/radial4"/>
    <dgm:cxn modelId="{0A1E3803-D581-4E53-9D0B-7E37536ADC50}" type="presParOf" srcId="{F6B90B54-40F3-4F30-8E45-AFF9FF010272}" destId="{569B40B3-1002-47A7-A5B4-42C05F2E395E}" srcOrd="3" destOrd="0" presId="urn:microsoft.com/office/officeart/2005/8/layout/radial4"/>
    <dgm:cxn modelId="{198CBC76-A2C1-4352-868E-1349E19AFBA7}" type="presParOf" srcId="{F6B90B54-40F3-4F30-8E45-AFF9FF010272}" destId="{79F6DD87-D785-4431-8D74-38F65A0AE445}" srcOrd="4" destOrd="0" presId="urn:microsoft.com/office/officeart/2005/8/layout/radial4"/>
    <dgm:cxn modelId="{646B1D3E-F736-4312-B867-D6FEC9403200}" type="presParOf" srcId="{F6B90B54-40F3-4F30-8E45-AFF9FF010272}" destId="{17E87D54-B164-46D5-B264-0EA58C9399E1}" srcOrd="5" destOrd="0" presId="urn:microsoft.com/office/officeart/2005/8/layout/radial4"/>
    <dgm:cxn modelId="{9A963F31-5DFB-4AEB-B567-5CA326ED7735}" type="presParOf" srcId="{F6B90B54-40F3-4F30-8E45-AFF9FF010272}" destId="{B8963FFD-1FE2-49A7-9FB5-9F533A3CFF0D}" srcOrd="6" destOrd="0" presId="urn:microsoft.com/office/officeart/2005/8/layout/radial4"/>
    <dgm:cxn modelId="{35F264DB-AF54-41BE-B30D-331CF4A03174}" type="presParOf" srcId="{F6B90B54-40F3-4F30-8E45-AFF9FF010272}" destId="{9D22763C-5152-450F-AEA3-13BD21E0D8ED}" srcOrd="7" destOrd="0" presId="urn:microsoft.com/office/officeart/2005/8/layout/radial4"/>
    <dgm:cxn modelId="{433FE544-01CF-4C42-A850-0745A79C9F34}" type="presParOf" srcId="{F6B90B54-40F3-4F30-8E45-AFF9FF010272}" destId="{80FFC2A7-EB29-4DE1-A8ED-C99082E58A2C}" srcOrd="8" destOrd="0" presId="urn:microsoft.com/office/officeart/2005/8/layout/radial4"/>
    <dgm:cxn modelId="{3FFEB5C4-449B-4788-81E9-7D173C4BE670}" type="presParOf" srcId="{F6B90B54-40F3-4F30-8E45-AFF9FF010272}" destId="{34821464-1363-498B-991E-440C86410635}" srcOrd="9" destOrd="0" presId="urn:microsoft.com/office/officeart/2005/8/layout/radial4"/>
    <dgm:cxn modelId="{4D4DCC5D-AD09-4038-8149-7E251D543DF9}" type="presParOf" srcId="{F6B90B54-40F3-4F30-8E45-AFF9FF010272}" destId="{37C0285A-C1B1-4BAF-A6AE-3A620EA62B99}" srcOrd="10" destOrd="0" presId="urn:microsoft.com/office/officeart/2005/8/layout/radial4"/>
    <dgm:cxn modelId="{8D7CEB1C-D49E-4316-984F-0034DC205862}" type="presParOf" srcId="{F6B90B54-40F3-4F30-8E45-AFF9FF010272}" destId="{10CE5B70-622F-4DFA-8941-2DB61B328157}" srcOrd="11" destOrd="0" presId="urn:microsoft.com/office/officeart/2005/8/layout/radial4"/>
    <dgm:cxn modelId="{5C0628BF-276A-4A14-87D6-5DFFAF7228D0}" type="presParOf" srcId="{F6B90B54-40F3-4F30-8E45-AFF9FF010272}" destId="{048FB0E1-5A8A-4E09-9509-3DB06E47AF2D}" srcOrd="12" destOrd="0" presId="urn:microsoft.com/office/officeart/2005/8/layout/radial4"/>
    <dgm:cxn modelId="{489A67E4-47A3-426E-B1BD-3D1D9AEF91BC}" type="presParOf" srcId="{F6B90B54-40F3-4F30-8E45-AFF9FF010272}" destId="{018DBB38-7F49-4F66-B28B-533F1C50174C}" srcOrd="13" destOrd="0" presId="urn:microsoft.com/office/officeart/2005/8/layout/radial4"/>
    <dgm:cxn modelId="{26CF33A2-6B5F-4A24-B565-6E631C0CAE7D}" type="presParOf" srcId="{F6B90B54-40F3-4F30-8E45-AFF9FF010272}" destId="{6877271A-F4BF-455C-B294-FF76AFB6B556}" srcOrd="14"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ECCA3A7-02D3-4120-9F65-72C2BCE772C6}" type="doc">
      <dgm:prSet loTypeId="urn:microsoft.com/office/officeart/2005/8/layout/funnel1" loCatId="relationship" qsTypeId="urn:microsoft.com/office/officeart/2005/8/quickstyle/simple1" qsCatId="simple" csTypeId="urn:microsoft.com/office/officeart/2005/8/colors/colorful5" csCatId="colorful" phldr="1"/>
      <dgm:spPr/>
      <dgm:t>
        <a:bodyPr/>
        <a:lstStyle/>
        <a:p>
          <a:endParaRPr lang="nl-BE"/>
        </a:p>
      </dgm:t>
    </dgm:pt>
    <dgm:pt modelId="{8E008C78-AFD1-4FC6-98E2-99C8AF441148}">
      <dgm:prSet phldrT="[Tekst]"/>
      <dgm:spPr/>
      <dgm:t>
        <a:bodyPr/>
        <a:lstStyle/>
        <a:p>
          <a:r>
            <a:rPr lang="en-GB" dirty="0"/>
            <a:t>Content layer</a:t>
          </a:r>
          <a:endParaRPr lang="nl-BE" dirty="0"/>
        </a:p>
      </dgm:t>
    </dgm:pt>
    <dgm:pt modelId="{A09C65C9-0A8A-4F2B-8DED-E3963B46DB19}" type="parTrans" cxnId="{59F621BA-A734-4ED0-813D-682C52F26B46}">
      <dgm:prSet/>
      <dgm:spPr/>
      <dgm:t>
        <a:bodyPr/>
        <a:lstStyle/>
        <a:p>
          <a:endParaRPr lang="nl-BE"/>
        </a:p>
      </dgm:t>
    </dgm:pt>
    <dgm:pt modelId="{D73C585F-7E7A-4453-8EAE-F36A020A0DA5}" type="sibTrans" cxnId="{59F621BA-A734-4ED0-813D-682C52F26B46}">
      <dgm:prSet/>
      <dgm:spPr/>
      <dgm:t>
        <a:bodyPr/>
        <a:lstStyle/>
        <a:p>
          <a:endParaRPr lang="nl-BE"/>
        </a:p>
      </dgm:t>
    </dgm:pt>
    <dgm:pt modelId="{6B8DD54A-18B1-4BDA-A223-096B15061714}">
      <dgm:prSet/>
      <dgm:spPr/>
      <dgm:t>
        <a:bodyPr/>
        <a:lstStyle/>
        <a:p>
          <a:r>
            <a:rPr lang="en-GB" dirty="0"/>
            <a:t>Master layer</a:t>
          </a:r>
        </a:p>
      </dgm:t>
    </dgm:pt>
    <dgm:pt modelId="{B074AFD4-9C7A-4E47-8EF9-C035B6B7515C}" type="parTrans" cxnId="{DC06E84B-739C-4A56-939E-17F7AABD6C35}">
      <dgm:prSet/>
      <dgm:spPr/>
      <dgm:t>
        <a:bodyPr/>
        <a:lstStyle/>
        <a:p>
          <a:endParaRPr lang="nl-BE"/>
        </a:p>
      </dgm:t>
    </dgm:pt>
    <dgm:pt modelId="{D72D65DA-77A2-4F79-8586-2A8958D55DAD}" type="sibTrans" cxnId="{DC06E84B-739C-4A56-939E-17F7AABD6C35}">
      <dgm:prSet/>
      <dgm:spPr/>
      <dgm:t>
        <a:bodyPr/>
        <a:lstStyle/>
        <a:p>
          <a:endParaRPr lang="nl-BE"/>
        </a:p>
      </dgm:t>
    </dgm:pt>
    <dgm:pt modelId="{97116765-206A-4A04-A5B0-DB0B22CC53F5}">
      <dgm:prSet/>
      <dgm:spPr/>
      <dgm:t>
        <a:bodyPr/>
        <a:lstStyle/>
        <a:p>
          <a:r>
            <a:rPr lang="en-GB" dirty="0"/>
            <a:t>Layouts</a:t>
          </a:r>
        </a:p>
      </dgm:t>
    </dgm:pt>
    <dgm:pt modelId="{29FE6AED-F3D9-4B23-84C9-006D2F739F41}" type="parTrans" cxnId="{EFA04C59-8244-4E4E-91D5-D1DB50AF2E35}">
      <dgm:prSet/>
      <dgm:spPr/>
      <dgm:t>
        <a:bodyPr/>
        <a:lstStyle/>
        <a:p>
          <a:endParaRPr lang="nl-BE"/>
        </a:p>
      </dgm:t>
    </dgm:pt>
    <dgm:pt modelId="{885BB282-46FA-4A78-B134-C6A09357E3F1}" type="sibTrans" cxnId="{EFA04C59-8244-4E4E-91D5-D1DB50AF2E35}">
      <dgm:prSet/>
      <dgm:spPr/>
      <dgm:t>
        <a:bodyPr/>
        <a:lstStyle/>
        <a:p>
          <a:endParaRPr lang="nl-BE"/>
        </a:p>
      </dgm:t>
    </dgm:pt>
    <dgm:pt modelId="{8D646F70-51BA-4C8F-A1C1-9BBA34456AB5}">
      <dgm:prSet/>
      <dgm:spPr/>
      <dgm:t>
        <a:bodyPr/>
        <a:lstStyle/>
        <a:p>
          <a:r>
            <a:rPr lang="en-GB" dirty="0"/>
            <a:t>Slide</a:t>
          </a:r>
        </a:p>
      </dgm:t>
    </dgm:pt>
    <dgm:pt modelId="{0D19BB1A-FE4A-4AE5-BB96-EED2419B549D}" type="parTrans" cxnId="{CD97ED5B-DDCB-453C-B0DE-AB6E1D144567}">
      <dgm:prSet/>
      <dgm:spPr/>
      <dgm:t>
        <a:bodyPr/>
        <a:lstStyle/>
        <a:p>
          <a:endParaRPr lang="nl-BE"/>
        </a:p>
      </dgm:t>
    </dgm:pt>
    <dgm:pt modelId="{E0929C5E-14C5-4FE4-AFCD-0CDA65334019}" type="sibTrans" cxnId="{CD97ED5B-DDCB-453C-B0DE-AB6E1D144567}">
      <dgm:prSet/>
      <dgm:spPr/>
      <dgm:t>
        <a:bodyPr/>
        <a:lstStyle/>
        <a:p>
          <a:endParaRPr lang="nl-BE"/>
        </a:p>
      </dgm:t>
    </dgm:pt>
    <dgm:pt modelId="{E7CA055F-FF4D-4F7A-94D9-564C7FCA6451}" type="pres">
      <dgm:prSet presAssocID="{9ECCA3A7-02D3-4120-9F65-72C2BCE772C6}" presName="Name0" presStyleCnt="0">
        <dgm:presLayoutVars>
          <dgm:chMax val="4"/>
          <dgm:resizeHandles val="exact"/>
        </dgm:presLayoutVars>
      </dgm:prSet>
      <dgm:spPr/>
    </dgm:pt>
    <dgm:pt modelId="{F1DDC629-186F-4452-A961-79B9B9FFAC9A}" type="pres">
      <dgm:prSet presAssocID="{9ECCA3A7-02D3-4120-9F65-72C2BCE772C6}" presName="ellipse" presStyleLbl="trBgShp" presStyleIdx="0" presStyleCnt="1"/>
      <dgm:spPr/>
    </dgm:pt>
    <dgm:pt modelId="{32E5AAC0-CECA-4735-8D23-D5326EF660EE}" type="pres">
      <dgm:prSet presAssocID="{9ECCA3A7-02D3-4120-9F65-72C2BCE772C6}" presName="arrow1" presStyleLbl="fgShp" presStyleIdx="0" presStyleCnt="1"/>
      <dgm:spPr/>
    </dgm:pt>
    <dgm:pt modelId="{A76F1970-A140-4F89-BBAB-7B985A3F6BBD}" type="pres">
      <dgm:prSet presAssocID="{9ECCA3A7-02D3-4120-9F65-72C2BCE772C6}" presName="rectangle" presStyleLbl="revTx" presStyleIdx="0" presStyleCnt="1">
        <dgm:presLayoutVars>
          <dgm:bulletEnabled val="1"/>
        </dgm:presLayoutVars>
      </dgm:prSet>
      <dgm:spPr/>
    </dgm:pt>
    <dgm:pt modelId="{5B8E9865-70F4-44FC-8353-C560E4784ADD}" type="pres">
      <dgm:prSet presAssocID="{6B8DD54A-18B1-4BDA-A223-096B15061714}" presName="item1" presStyleLbl="node1" presStyleIdx="0" presStyleCnt="3">
        <dgm:presLayoutVars>
          <dgm:bulletEnabled val="1"/>
        </dgm:presLayoutVars>
      </dgm:prSet>
      <dgm:spPr/>
    </dgm:pt>
    <dgm:pt modelId="{C603E053-C3A5-4406-B486-F3180B500641}" type="pres">
      <dgm:prSet presAssocID="{97116765-206A-4A04-A5B0-DB0B22CC53F5}" presName="item2" presStyleLbl="node1" presStyleIdx="1" presStyleCnt="3">
        <dgm:presLayoutVars>
          <dgm:bulletEnabled val="1"/>
        </dgm:presLayoutVars>
      </dgm:prSet>
      <dgm:spPr/>
    </dgm:pt>
    <dgm:pt modelId="{C9F5E058-79C9-43E7-8C69-1A2F78EDFDB9}" type="pres">
      <dgm:prSet presAssocID="{8D646F70-51BA-4C8F-A1C1-9BBA34456AB5}" presName="item3" presStyleLbl="node1" presStyleIdx="2" presStyleCnt="3">
        <dgm:presLayoutVars>
          <dgm:bulletEnabled val="1"/>
        </dgm:presLayoutVars>
      </dgm:prSet>
      <dgm:spPr/>
    </dgm:pt>
    <dgm:pt modelId="{A3C4F229-080B-4778-8A57-402FA7243795}" type="pres">
      <dgm:prSet presAssocID="{9ECCA3A7-02D3-4120-9F65-72C2BCE772C6}" presName="funnel" presStyleLbl="trAlignAcc1" presStyleIdx="0" presStyleCnt="1" custLinFactNeighborY="-343"/>
      <dgm:spPr/>
    </dgm:pt>
  </dgm:ptLst>
  <dgm:cxnLst>
    <dgm:cxn modelId="{A57A6E02-BAA6-41EC-8D72-E2D131CD2930}" type="presOf" srcId="{8E008C78-AFD1-4FC6-98E2-99C8AF441148}" destId="{C9F5E058-79C9-43E7-8C69-1A2F78EDFDB9}" srcOrd="0" destOrd="0" presId="urn:microsoft.com/office/officeart/2005/8/layout/funnel1"/>
    <dgm:cxn modelId="{CD97ED5B-DDCB-453C-B0DE-AB6E1D144567}" srcId="{9ECCA3A7-02D3-4120-9F65-72C2BCE772C6}" destId="{8D646F70-51BA-4C8F-A1C1-9BBA34456AB5}" srcOrd="3" destOrd="0" parTransId="{0D19BB1A-FE4A-4AE5-BB96-EED2419B549D}" sibTransId="{E0929C5E-14C5-4FE4-AFCD-0CDA65334019}"/>
    <dgm:cxn modelId="{DC06E84B-739C-4A56-939E-17F7AABD6C35}" srcId="{9ECCA3A7-02D3-4120-9F65-72C2BCE772C6}" destId="{6B8DD54A-18B1-4BDA-A223-096B15061714}" srcOrd="1" destOrd="0" parTransId="{B074AFD4-9C7A-4E47-8EF9-C035B6B7515C}" sibTransId="{D72D65DA-77A2-4F79-8586-2A8958D55DAD}"/>
    <dgm:cxn modelId="{EFA04C59-8244-4E4E-91D5-D1DB50AF2E35}" srcId="{9ECCA3A7-02D3-4120-9F65-72C2BCE772C6}" destId="{97116765-206A-4A04-A5B0-DB0B22CC53F5}" srcOrd="2" destOrd="0" parTransId="{29FE6AED-F3D9-4B23-84C9-006D2F739F41}" sibTransId="{885BB282-46FA-4A78-B134-C6A09357E3F1}"/>
    <dgm:cxn modelId="{D5D59A7E-1659-4462-BD28-6F71D43E9268}" type="presOf" srcId="{97116765-206A-4A04-A5B0-DB0B22CC53F5}" destId="{5B8E9865-70F4-44FC-8353-C560E4784ADD}" srcOrd="0" destOrd="0" presId="urn:microsoft.com/office/officeart/2005/8/layout/funnel1"/>
    <dgm:cxn modelId="{9098E382-610B-4525-9C6B-39E960F86E3C}" type="presOf" srcId="{6B8DD54A-18B1-4BDA-A223-096B15061714}" destId="{C603E053-C3A5-4406-B486-F3180B500641}" srcOrd="0" destOrd="0" presId="urn:microsoft.com/office/officeart/2005/8/layout/funnel1"/>
    <dgm:cxn modelId="{B409CE87-C2FC-4E52-AD21-E45A0A76EBA6}" type="presOf" srcId="{9ECCA3A7-02D3-4120-9F65-72C2BCE772C6}" destId="{E7CA055F-FF4D-4F7A-94D9-564C7FCA6451}" srcOrd="0" destOrd="0" presId="urn:microsoft.com/office/officeart/2005/8/layout/funnel1"/>
    <dgm:cxn modelId="{59F621BA-A734-4ED0-813D-682C52F26B46}" srcId="{9ECCA3A7-02D3-4120-9F65-72C2BCE772C6}" destId="{8E008C78-AFD1-4FC6-98E2-99C8AF441148}" srcOrd="0" destOrd="0" parTransId="{A09C65C9-0A8A-4F2B-8DED-E3963B46DB19}" sibTransId="{D73C585F-7E7A-4453-8EAE-F36A020A0DA5}"/>
    <dgm:cxn modelId="{AACD28CB-D902-4434-B533-66D7E7FC5983}" type="presOf" srcId="{8D646F70-51BA-4C8F-A1C1-9BBA34456AB5}" destId="{A76F1970-A140-4F89-BBAB-7B985A3F6BBD}" srcOrd="0" destOrd="0" presId="urn:microsoft.com/office/officeart/2005/8/layout/funnel1"/>
    <dgm:cxn modelId="{632B0A0F-DD3E-4F66-9402-3F7550FAB334}" type="presParOf" srcId="{E7CA055F-FF4D-4F7A-94D9-564C7FCA6451}" destId="{F1DDC629-186F-4452-A961-79B9B9FFAC9A}" srcOrd="0" destOrd="0" presId="urn:microsoft.com/office/officeart/2005/8/layout/funnel1"/>
    <dgm:cxn modelId="{E3E4FE75-4360-4DBB-B914-B27775AFF997}" type="presParOf" srcId="{E7CA055F-FF4D-4F7A-94D9-564C7FCA6451}" destId="{32E5AAC0-CECA-4735-8D23-D5326EF660EE}" srcOrd="1" destOrd="0" presId="urn:microsoft.com/office/officeart/2005/8/layout/funnel1"/>
    <dgm:cxn modelId="{31D7CEE6-1FFE-401D-B12F-B23FE2B75EA1}" type="presParOf" srcId="{E7CA055F-FF4D-4F7A-94D9-564C7FCA6451}" destId="{A76F1970-A140-4F89-BBAB-7B985A3F6BBD}" srcOrd="2" destOrd="0" presId="urn:microsoft.com/office/officeart/2005/8/layout/funnel1"/>
    <dgm:cxn modelId="{21E9025F-94C4-4C69-A4D4-368B7BEDAFD8}" type="presParOf" srcId="{E7CA055F-FF4D-4F7A-94D9-564C7FCA6451}" destId="{5B8E9865-70F4-44FC-8353-C560E4784ADD}" srcOrd="3" destOrd="0" presId="urn:microsoft.com/office/officeart/2005/8/layout/funnel1"/>
    <dgm:cxn modelId="{5D84C132-0875-4E1E-9F97-20301EDFFE09}" type="presParOf" srcId="{E7CA055F-FF4D-4F7A-94D9-564C7FCA6451}" destId="{C603E053-C3A5-4406-B486-F3180B500641}" srcOrd="4" destOrd="0" presId="urn:microsoft.com/office/officeart/2005/8/layout/funnel1"/>
    <dgm:cxn modelId="{61CFEC7B-781C-4D4F-A962-26EDC83EF109}" type="presParOf" srcId="{E7CA055F-FF4D-4F7A-94D9-564C7FCA6451}" destId="{C9F5E058-79C9-43E7-8C69-1A2F78EDFDB9}" srcOrd="5" destOrd="0" presId="urn:microsoft.com/office/officeart/2005/8/layout/funnel1"/>
    <dgm:cxn modelId="{BCF9946C-6E1B-4D27-84B6-817395208F59}" type="presParOf" srcId="{E7CA055F-FF4D-4F7A-94D9-564C7FCA6451}" destId="{A3C4F229-080B-4778-8A57-402FA7243795}"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E57E70C-BB57-4137-85CA-2E35BCE407D5}" type="doc">
      <dgm:prSet loTypeId="urn:microsoft.com/office/officeart/2005/8/layout/gear1" loCatId="process" qsTypeId="urn:microsoft.com/office/officeart/2005/8/quickstyle/simple1" qsCatId="simple" csTypeId="urn:microsoft.com/office/officeart/2005/8/colors/colorful5" csCatId="colorful" phldr="1"/>
      <dgm:spPr/>
    </dgm:pt>
    <dgm:pt modelId="{7DA0A592-62AE-41E6-AE5D-106697E0145C}">
      <dgm:prSet/>
      <dgm:spPr/>
      <dgm:t>
        <a:bodyPr/>
        <a:lstStyle/>
        <a:p>
          <a:r>
            <a:rPr lang="en-GB" dirty="0"/>
            <a:t>Layouts</a:t>
          </a:r>
        </a:p>
      </dgm:t>
    </dgm:pt>
    <dgm:pt modelId="{001AF6ED-4420-44E8-837E-01D4981A4FD2}" type="parTrans" cxnId="{5E22BF3E-953F-499B-8EB1-1AE4000D4FE6}">
      <dgm:prSet/>
      <dgm:spPr/>
      <dgm:t>
        <a:bodyPr/>
        <a:lstStyle/>
        <a:p>
          <a:endParaRPr lang="en-GB"/>
        </a:p>
      </dgm:t>
    </dgm:pt>
    <dgm:pt modelId="{5B394D55-C1AC-4A5B-890C-392844588BA0}" type="sibTrans" cxnId="{5E22BF3E-953F-499B-8EB1-1AE4000D4FE6}">
      <dgm:prSet/>
      <dgm:spPr/>
      <dgm:t>
        <a:bodyPr/>
        <a:lstStyle/>
        <a:p>
          <a:endParaRPr lang="en-GB"/>
        </a:p>
      </dgm:t>
    </dgm:pt>
    <dgm:pt modelId="{3EBB0936-1081-4071-B71C-F319B5F61215}">
      <dgm:prSet phldrT="[Tekst]"/>
      <dgm:spPr/>
      <dgm:t>
        <a:bodyPr/>
        <a:lstStyle/>
        <a:p>
          <a:r>
            <a:rPr lang="en-GB" dirty="0"/>
            <a:t>Content layer</a:t>
          </a:r>
        </a:p>
      </dgm:t>
    </dgm:pt>
    <dgm:pt modelId="{C70CBC26-D047-48B6-8D0F-E56FA931EDF2}" type="parTrans" cxnId="{4C9845B9-5ADB-46B0-AA5C-5C4D131D46D3}">
      <dgm:prSet/>
      <dgm:spPr/>
      <dgm:t>
        <a:bodyPr/>
        <a:lstStyle/>
        <a:p>
          <a:endParaRPr lang="en-GB"/>
        </a:p>
      </dgm:t>
    </dgm:pt>
    <dgm:pt modelId="{5B94A8AE-7DD0-4C60-8D9C-84CD61C95F23}" type="sibTrans" cxnId="{4C9845B9-5ADB-46B0-AA5C-5C4D131D46D3}">
      <dgm:prSet/>
      <dgm:spPr/>
      <dgm:t>
        <a:bodyPr/>
        <a:lstStyle/>
        <a:p>
          <a:endParaRPr lang="en-GB"/>
        </a:p>
      </dgm:t>
    </dgm:pt>
    <dgm:pt modelId="{54D4EB2A-D9C3-4F4E-A4EA-178062273FDE}">
      <dgm:prSet/>
      <dgm:spPr/>
      <dgm:t>
        <a:bodyPr/>
        <a:lstStyle/>
        <a:p>
          <a:r>
            <a:rPr lang="en-GB" dirty="0"/>
            <a:t>Master layer</a:t>
          </a:r>
        </a:p>
      </dgm:t>
    </dgm:pt>
    <dgm:pt modelId="{A0FB6EC0-AF57-4E69-9333-BC6CEABC7B73}" type="parTrans" cxnId="{6C9C8314-DEAA-41D9-AA00-26C07ED63FB5}">
      <dgm:prSet/>
      <dgm:spPr/>
      <dgm:t>
        <a:bodyPr/>
        <a:lstStyle/>
        <a:p>
          <a:endParaRPr lang="en-GB"/>
        </a:p>
      </dgm:t>
    </dgm:pt>
    <dgm:pt modelId="{C0EB9F28-ACE9-4E4F-9624-4C1FAB00904D}" type="sibTrans" cxnId="{6C9C8314-DEAA-41D9-AA00-26C07ED63FB5}">
      <dgm:prSet/>
      <dgm:spPr/>
      <dgm:t>
        <a:bodyPr/>
        <a:lstStyle/>
        <a:p>
          <a:endParaRPr lang="en-GB"/>
        </a:p>
      </dgm:t>
    </dgm:pt>
    <dgm:pt modelId="{C38F7245-C894-435B-82C0-7BB401F99270}" type="pres">
      <dgm:prSet presAssocID="{CE57E70C-BB57-4137-85CA-2E35BCE407D5}" presName="composite" presStyleCnt="0">
        <dgm:presLayoutVars>
          <dgm:chMax val="3"/>
          <dgm:animLvl val="lvl"/>
          <dgm:resizeHandles val="exact"/>
        </dgm:presLayoutVars>
      </dgm:prSet>
      <dgm:spPr/>
    </dgm:pt>
    <dgm:pt modelId="{C454E01B-6B67-440D-AB14-BB3E51704CB7}" type="pres">
      <dgm:prSet presAssocID="{54D4EB2A-D9C3-4F4E-A4EA-178062273FDE}" presName="gear1" presStyleLbl="node1" presStyleIdx="0" presStyleCnt="3">
        <dgm:presLayoutVars>
          <dgm:chMax val="1"/>
          <dgm:bulletEnabled val="1"/>
        </dgm:presLayoutVars>
      </dgm:prSet>
      <dgm:spPr/>
    </dgm:pt>
    <dgm:pt modelId="{5B958068-3C53-42D3-8AD4-2BD838D8266F}" type="pres">
      <dgm:prSet presAssocID="{54D4EB2A-D9C3-4F4E-A4EA-178062273FDE}" presName="gear1srcNode" presStyleLbl="node1" presStyleIdx="0" presStyleCnt="3"/>
      <dgm:spPr/>
    </dgm:pt>
    <dgm:pt modelId="{2FF67B6F-6833-478A-A69D-8C27B2C6D002}" type="pres">
      <dgm:prSet presAssocID="{54D4EB2A-D9C3-4F4E-A4EA-178062273FDE}" presName="gear1dstNode" presStyleLbl="node1" presStyleIdx="0" presStyleCnt="3"/>
      <dgm:spPr/>
    </dgm:pt>
    <dgm:pt modelId="{6252BC02-3D29-41E9-A6F1-1307A321226F}" type="pres">
      <dgm:prSet presAssocID="{7DA0A592-62AE-41E6-AE5D-106697E0145C}" presName="gear2" presStyleLbl="node1" presStyleIdx="1" presStyleCnt="3">
        <dgm:presLayoutVars>
          <dgm:chMax val="1"/>
          <dgm:bulletEnabled val="1"/>
        </dgm:presLayoutVars>
      </dgm:prSet>
      <dgm:spPr/>
    </dgm:pt>
    <dgm:pt modelId="{4B13E5C2-DF96-4822-90D9-55B61D974A8E}" type="pres">
      <dgm:prSet presAssocID="{7DA0A592-62AE-41E6-AE5D-106697E0145C}" presName="gear2srcNode" presStyleLbl="node1" presStyleIdx="1" presStyleCnt="3"/>
      <dgm:spPr/>
    </dgm:pt>
    <dgm:pt modelId="{BDD01787-8451-4813-B9DA-338CC99496E8}" type="pres">
      <dgm:prSet presAssocID="{7DA0A592-62AE-41E6-AE5D-106697E0145C}" presName="gear2dstNode" presStyleLbl="node1" presStyleIdx="1" presStyleCnt="3"/>
      <dgm:spPr/>
    </dgm:pt>
    <dgm:pt modelId="{C9AA18E1-F472-4FDD-8C43-40E2E54F1559}" type="pres">
      <dgm:prSet presAssocID="{3EBB0936-1081-4071-B71C-F319B5F61215}" presName="gear3" presStyleLbl="node1" presStyleIdx="2" presStyleCnt="3"/>
      <dgm:spPr/>
    </dgm:pt>
    <dgm:pt modelId="{38835BAD-A694-4F3E-B22A-EDF0504CE170}" type="pres">
      <dgm:prSet presAssocID="{3EBB0936-1081-4071-B71C-F319B5F61215}" presName="gear3tx" presStyleLbl="node1" presStyleIdx="2" presStyleCnt="3">
        <dgm:presLayoutVars>
          <dgm:chMax val="1"/>
          <dgm:bulletEnabled val="1"/>
        </dgm:presLayoutVars>
      </dgm:prSet>
      <dgm:spPr/>
    </dgm:pt>
    <dgm:pt modelId="{AD012E38-0220-413A-B593-C230B054A540}" type="pres">
      <dgm:prSet presAssocID="{3EBB0936-1081-4071-B71C-F319B5F61215}" presName="gear3srcNode" presStyleLbl="node1" presStyleIdx="2" presStyleCnt="3"/>
      <dgm:spPr/>
    </dgm:pt>
    <dgm:pt modelId="{B610D27C-C7D5-4EAB-AAE9-5397B35CDA91}" type="pres">
      <dgm:prSet presAssocID="{3EBB0936-1081-4071-B71C-F319B5F61215}" presName="gear3dstNode" presStyleLbl="node1" presStyleIdx="2" presStyleCnt="3"/>
      <dgm:spPr/>
    </dgm:pt>
    <dgm:pt modelId="{28C2F5C5-78AF-4739-BB41-A494F5841A80}" type="pres">
      <dgm:prSet presAssocID="{C0EB9F28-ACE9-4E4F-9624-4C1FAB00904D}" presName="connector1" presStyleLbl="sibTrans2D1" presStyleIdx="0" presStyleCnt="3"/>
      <dgm:spPr/>
    </dgm:pt>
    <dgm:pt modelId="{6AFE3138-6BBA-4842-9A2B-EA65C606D96E}" type="pres">
      <dgm:prSet presAssocID="{5B394D55-C1AC-4A5B-890C-392844588BA0}" presName="connector2" presStyleLbl="sibTrans2D1" presStyleIdx="1" presStyleCnt="3"/>
      <dgm:spPr/>
    </dgm:pt>
    <dgm:pt modelId="{7C333FEB-0488-4C7D-825E-73961F789E08}" type="pres">
      <dgm:prSet presAssocID="{5B94A8AE-7DD0-4C60-8D9C-84CD61C95F23}" presName="connector3" presStyleLbl="sibTrans2D1" presStyleIdx="2" presStyleCnt="3"/>
      <dgm:spPr/>
    </dgm:pt>
  </dgm:ptLst>
  <dgm:cxnLst>
    <dgm:cxn modelId="{A50CE012-A36C-467D-A573-8C7D613AD218}" type="presOf" srcId="{54D4EB2A-D9C3-4F4E-A4EA-178062273FDE}" destId="{C454E01B-6B67-440D-AB14-BB3E51704CB7}" srcOrd="0" destOrd="0" presId="urn:microsoft.com/office/officeart/2005/8/layout/gear1"/>
    <dgm:cxn modelId="{6C9C8314-DEAA-41D9-AA00-26C07ED63FB5}" srcId="{CE57E70C-BB57-4137-85CA-2E35BCE407D5}" destId="{54D4EB2A-D9C3-4F4E-A4EA-178062273FDE}" srcOrd="0" destOrd="0" parTransId="{A0FB6EC0-AF57-4E69-9333-BC6CEABC7B73}" sibTransId="{C0EB9F28-ACE9-4E4F-9624-4C1FAB00904D}"/>
    <dgm:cxn modelId="{5E22BF3E-953F-499B-8EB1-1AE4000D4FE6}" srcId="{CE57E70C-BB57-4137-85CA-2E35BCE407D5}" destId="{7DA0A592-62AE-41E6-AE5D-106697E0145C}" srcOrd="1" destOrd="0" parTransId="{001AF6ED-4420-44E8-837E-01D4981A4FD2}" sibTransId="{5B394D55-C1AC-4A5B-890C-392844588BA0}"/>
    <dgm:cxn modelId="{63365060-BFE7-4D3B-BC18-3FC5889E40AE}" type="presOf" srcId="{7DA0A592-62AE-41E6-AE5D-106697E0145C}" destId="{6252BC02-3D29-41E9-A6F1-1307A321226F}" srcOrd="0" destOrd="0" presId="urn:microsoft.com/office/officeart/2005/8/layout/gear1"/>
    <dgm:cxn modelId="{71E8C741-BB7D-4C06-942D-84C571129F58}" type="presOf" srcId="{54D4EB2A-D9C3-4F4E-A4EA-178062273FDE}" destId="{5B958068-3C53-42D3-8AD4-2BD838D8266F}" srcOrd="1" destOrd="0" presId="urn:microsoft.com/office/officeart/2005/8/layout/gear1"/>
    <dgm:cxn modelId="{C7B77667-0C03-436F-899A-239262433CC2}" type="presOf" srcId="{7DA0A592-62AE-41E6-AE5D-106697E0145C}" destId="{BDD01787-8451-4813-B9DA-338CC99496E8}" srcOrd="2" destOrd="0" presId="urn:microsoft.com/office/officeart/2005/8/layout/gear1"/>
    <dgm:cxn modelId="{CC4B244D-D2AA-4B4A-8B59-9805F4600076}" type="presOf" srcId="{CE57E70C-BB57-4137-85CA-2E35BCE407D5}" destId="{C38F7245-C894-435B-82C0-7BB401F99270}" srcOrd="0" destOrd="0" presId="urn:microsoft.com/office/officeart/2005/8/layout/gear1"/>
    <dgm:cxn modelId="{1A442353-F47A-4943-AB43-015A9D7DCDDF}" type="presOf" srcId="{3EBB0936-1081-4071-B71C-F319B5F61215}" destId="{B610D27C-C7D5-4EAB-AAE9-5397B35CDA91}" srcOrd="3" destOrd="0" presId="urn:microsoft.com/office/officeart/2005/8/layout/gear1"/>
    <dgm:cxn modelId="{35C00976-1983-4D22-A8EB-E15906648E8A}" type="presOf" srcId="{5B94A8AE-7DD0-4C60-8D9C-84CD61C95F23}" destId="{7C333FEB-0488-4C7D-825E-73961F789E08}" srcOrd="0" destOrd="0" presId="urn:microsoft.com/office/officeart/2005/8/layout/gear1"/>
    <dgm:cxn modelId="{F5D98A7D-2D97-46C4-97BC-6241906538F0}" type="presOf" srcId="{C0EB9F28-ACE9-4E4F-9624-4C1FAB00904D}" destId="{28C2F5C5-78AF-4739-BB41-A494F5841A80}" srcOrd="0" destOrd="0" presId="urn:microsoft.com/office/officeart/2005/8/layout/gear1"/>
    <dgm:cxn modelId="{54F1AB90-AC64-440D-A078-D2D328624D4C}" type="presOf" srcId="{5B394D55-C1AC-4A5B-890C-392844588BA0}" destId="{6AFE3138-6BBA-4842-9A2B-EA65C606D96E}" srcOrd="0" destOrd="0" presId="urn:microsoft.com/office/officeart/2005/8/layout/gear1"/>
    <dgm:cxn modelId="{31280E94-ACCF-467B-8C2D-8265ACB18FE1}" type="presOf" srcId="{3EBB0936-1081-4071-B71C-F319B5F61215}" destId="{C9AA18E1-F472-4FDD-8C43-40E2E54F1559}" srcOrd="0" destOrd="0" presId="urn:microsoft.com/office/officeart/2005/8/layout/gear1"/>
    <dgm:cxn modelId="{4C9845B9-5ADB-46B0-AA5C-5C4D131D46D3}" srcId="{CE57E70C-BB57-4137-85CA-2E35BCE407D5}" destId="{3EBB0936-1081-4071-B71C-F319B5F61215}" srcOrd="2" destOrd="0" parTransId="{C70CBC26-D047-48B6-8D0F-E56FA931EDF2}" sibTransId="{5B94A8AE-7DD0-4C60-8D9C-84CD61C95F23}"/>
    <dgm:cxn modelId="{A123FBE5-4D16-4C5B-AA59-97E2197C1007}" type="presOf" srcId="{7DA0A592-62AE-41E6-AE5D-106697E0145C}" destId="{4B13E5C2-DF96-4822-90D9-55B61D974A8E}" srcOrd="1" destOrd="0" presId="urn:microsoft.com/office/officeart/2005/8/layout/gear1"/>
    <dgm:cxn modelId="{AC3FF6E9-C3D7-441F-85A3-4E1EFFDCDB5D}" type="presOf" srcId="{54D4EB2A-D9C3-4F4E-A4EA-178062273FDE}" destId="{2FF67B6F-6833-478A-A69D-8C27B2C6D002}" srcOrd="2" destOrd="0" presId="urn:microsoft.com/office/officeart/2005/8/layout/gear1"/>
    <dgm:cxn modelId="{9A9E0DF2-5682-4AA1-BA6E-FACCABD4F7E5}" type="presOf" srcId="{3EBB0936-1081-4071-B71C-F319B5F61215}" destId="{38835BAD-A694-4F3E-B22A-EDF0504CE170}" srcOrd="1" destOrd="0" presId="urn:microsoft.com/office/officeart/2005/8/layout/gear1"/>
    <dgm:cxn modelId="{B71F78FA-6241-4C8B-AB0C-F1304F99EE81}" type="presOf" srcId="{3EBB0936-1081-4071-B71C-F319B5F61215}" destId="{AD012E38-0220-413A-B593-C230B054A540}" srcOrd="2" destOrd="0" presId="urn:microsoft.com/office/officeart/2005/8/layout/gear1"/>
    <dgm:cxn modelId="{005D8D7B-17D8-469B-9339-2052DB99F574}" type="presParOf" srcId="{C38F7245-C894-435B-82C0-7BB401F99270}" destId="{C454E01B-6B67-440D-AB14-BB3E51704CB7}" srcOrd="0" destOrd="0" presId="urn:microsoft.com/office/officeart/2005/8/layout/gear1"/>
    <dgm:cxn modelId="{1D65CBCE-F489-4915-A28B-F138DB836052}" type="presParOf" srcId="{C38F7245-C894-435B-82C0-7BB401F99270}" destId="{5B958068-3C53-42D3-8AD4-2BD838D8266F}" srcOrd="1" destOrd="0" presId="urn:microsoft.com/office/officeart/2005/8/layout/gear1"/>
    <dgm:cxn modelId="{AB5EF2B6-93E6-4DA1-BB69-9DB554FFD72E}" type="presParOf" srcId="{C38F7245-C894-435B-82C0-7BB401F99270}" destId="{2FF67B6F-6833-478A-A69D-8C27B2C6D002}" srcOrd="2" destOrd="0" presId="urn:microsoft.com/office/officeart/2005/8/layout/gear1"/>
    <dgm:cxn modelId="{CCD8AF21-8155-48B8-8A50-B14A956DC832}" type="presParOf" srcId="{C38F7245-C894-435B-82C0-7BB401F99270}" destId="{6252BC02-3D29-41E9-A6F1-1307A321226F}" srcOrd="3" destOrd="0" presId="urn:microsoft.com/office/officeart/2005/8/layout/gear1"/>
    <dgm:cxn modelId="{C9649EFA-06EF-4829-BCE8-000D641C2E95}" type="presParOf" srcId="{C38F7245-C894-435B-82C0-7BB401F99270}" destId="{4B13E5C2-DF96-4822-90D9-55B61D974A8E}" srcOrd="4" destOrd="0" presId="urn:microsoft.com/office/officeart/2005/8/layout/gear1"/>
    <dgm:cxn modelId="{7EC97E37-38C1-48B1-8AD2-9EED2E829750}" type="presParOf" srcId="{C38F7245-C894-435B-82C0-7BB401F99270}" destId="{BDD01787-8451-4813-B9DA-338CC99496E8}" srcOrd="5" destOrd="0" presId="urn:microsoft.com/office/officeart/2005/8/layout/gear1"/>
    <dgm:cxn modelId="{68AFF00C-CC7C-43CC-96AC-D9E991FBCB4E}" type="presParOf" srcId="{C38F7245-C894-435B-82C0-7BB401F99270}" destId="{C9AA18E1-F472-4FDD-8C43-40E2E54F1559}" srcOrd="6" destOrd="0" presId="urn:microsoft.com/office/officeart/2005/8/layout/gear1"/>
    <dgm:cxn modelId="{7B709C16-AF81-4085-87A3-98504681C844}" type="presParOf" srcId="{C38F7245-C894-435B-82C0-7BB401F99270}" destId="{38835BAD-A694-4F3E-B22A-EDF0504CE170}" srcOrd="7" destOrd="0" presId="urn:microsoft.com/office/officeart/2005/8/layout/gear1"/>
    <dgm:cxn modelId="{92276959-B04A-4E72-BA86-C115E5CB9671}" type="presParOf" srcId="{C38F7245-C894-435B-82C0-7BB401F99270}" destId="{AD012E38-0220-413A-B593-C230B054A540}" srcOrd="8" destOrd="0" presId="urn:microsoft.com/office/officeart/2005/8/layout/gear1"/>
    <dgm:cxn modelId="{BF4A19A6-6588-4525-A50E-F23225705FD9}" type="presParOf" srcId="{C38F7245-C894-435B-82C0-7BB401F99270}" destId="{B610D27C-C7D5-4EAB-AAE9-5397B35CDA91}" srcOrd="9" destOrd="0" presId="urn:microsoft.com/office/officeart/2005/8/layout/gear1"/>
    <dgm:cxn modelId="{1496C0BB-87F4-4B26-B8CE-1FAC78F6695A}" type="presParOf" srcId="{C38F7245-C894-435B-82C0-7BB401F99270}" destId="{28C2F5C5-78AF-4739-BB41-A494F5841A80}" srcOrd="10" destOrd="0" presId="urn:microsoft.com/office/officeart/2005/8/layout/gear1"/>
    <dgm:cxn modelId="{0F71A4AC-393A-4786-8188-22F8922C0290}" type="presParOf" srcId="{C38F7245-C894-435B-82C0-7BB401F99270}" destId="{6AFE3138-6BBA-4842-9A2B-EA65C606D96E}" srcOrd="11" destOrd="0" presId="urn:microsoft.com/office/officeart/2005/8/layout/gear1"/>
    <dgm:cxn modelId="{12EC31D1-8735-4AAB-A50B-7B2EDD085BC5}" type="presParOf" srcId="{C38F7245-C894-435B-82C0-7BB401F99270}" destId="{7C333FEB-0488-4C7D-825E-73961F789E08}" srcOrd="12" destOrd="0" presId="urn:microsoft.com/office/officeart/2005/8/layout/gear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2BC77D-306A-46F7-8152-E881AB079F94}" type="doc">
      <dgm:prSet loTypeId="urn:microsoft.com/office/officeart/2011/layout/ThemePictureAccent" loCatId="officeonline" qsTypeId="urn:microsoft.com/office/officeart/2005/8/quickstyle/simple1" qsCatId="simple" csTypeId="urn:microsoft.com/office/officeart/2005/8/colors/accent1_2" csCatId="accent1" phldr="1"/>
      <dgm:spPr/>
      <dgm:t>
        <a:bodyPr/>
        <a:lstStyle/>
        <a:p>
          <a:endParaRPr lang="en-GB"/>
        </a:p>
      </dgm:t>
    </dgm:pt>
    <dgm:pt modelId="{6DF21550-228D-4B1F-9303-F6B3BF96B3F5}">
      <dgm:prSet custT="1"/>
      <dgm:spPr/>
      <dgm:t>
        <a:bodyPr/>
        <a:lstStyle/>
        <a:p>
          <a:r>
            <a:rPr lang="en-GB" sz="1800" b="1">
              <a:solidFill>
                <a:schemeClr val="accent3">
                  <a:lumMod val="50000"/>
                </a:schemeClr>
              </a:solidFill>
            </a:rPr>
            <a:t>Objects &amp; manipulations</a:t>
          </a:r>
        </a:p>
      </dgm:t>
    </dgm:pt>
    <dgm:pt modelId="{A4B71CAE-A8CE-4D8B-BE7D-E901CD7DA74D}" type="parTrans" cxnId="{C569AB46-D2FE-43B1-8423-CA624D679C61}">
      <dgm:prSet/>
      <dgm:spPr/>
      <dgm:t>
        <a:bodyPr/>
        <a:lstStyle/>
        <a:p>
          <a:endParaRPr lang="en-GB"/>
        </a:p>
      </dgm:t>
    </dgm:pt>
    <dgm:pt modelId="{D1D2CB36-52B7-4FA0-9B1D-C5FB6C82B33E}" type="sibTrans" cxnId="{C569AB46-D2FE-43B1-8423-CA624D679C61}">
      <dgm:prSet/>
      <dgm:spPr/>
      <dgm:t>
        <a:bodyPr/>
        <a:lstStyle/>
        <a:p>
          <a:endParaRPr lang="en-GB"/>
        </a:p>
      </dgm:t>
    </dgm:pt>
    <dgm:pt modelId="{F2B0100B-6AD4-4B21-ADCB-C45062A5C6EB}">
      <dgm:prSet custT="1"/>
      <dgm:spPr/>
      <dgm:t>
        <a:bodyPr/>
        <a:lstStyle/>
        <a:p>
          <a:r>
            <a:rPr lang="en-GB" sz="1800" b="1" dirty="0">
              <a:solidFill>
                <a:schemeClr val="accent3">
                  <a:lumMod val="50000"/>
                </a:schemeClr>
              </a:solidFill>
            </a:rPr>
            <a:t>Text </a:t>
          </a:r>
        </a:p>
      </dgm:t>
    </dgm:pt>
    <dgm:pt modelId="{C05395CE-B425-43C5-8297-FE2C56C64053}" type="parTrans" cxnId="{4B0292CA-32B3-4A5D-80CB-CD2158D87B1E}">
      <dgm:prSet/>
      <dgm:spPr/>
      <dgm:t>
        <a:bodyPr/>
        <a:lstStyle/>
        <a:p>
          <a:endParaRPr lang="en-GB"/>
        </a:p>
      </dgm:t>
    </dgm:pt>
    <dgm:pt modelId="{AC6DA096-3AB5-429B-8995-E08BF59BA241}" type="sibTrans" cxnId="{4B0292CA-32B3-4A5D-80CB-CD2158D87B1E}">
      <dgm:prSet/>
      <dgm:spPr/>
      <dgm:t>
        <a:bodyPr/>
        <a:lstStyle/>
        <a:p>
          <a:endParaRPr lang="en-GB"/>
        </a:p>
      </dgm:t>
    </dgm:pt>
    <dgm:pt modelId="{CA6D17F6-B12F-487A-B019-637D4F9C5B5D}">
      <dgm:prSet custT="1"/>
      <dgm:spPr/>
      <dgm:t>
        <a:bodyPr/>
        <a:lstStyle/>
        <a:p>
          <a:r>
            <a:rPr lang="en-GB" sz="1800" b="1">
              <a:solidFill>
                <a:schemeClr val="accent3">
                  <a:lumMod val="50000"/>
                </a:schemeClr>
              </a:solidFill>
            </a:rPr>
            <a:t>Images</a:t>
          </a:r>
        </a:p>
      </dgm:t>
    </dgm:pt>
    <dgm:pt modelId="{8A49BA3A-E4BD-42C1-B281-A8242BE79A66}" type="parTrans" cxnId="{B25952EB-9577-4135-8A05-16DDE42ACB7B}">
      <dgm:prSet/>
      <dgm:spPr/>
      <dgm:t>
        <a:bodyPr/>
        <a:lstStyle/>
        <a:p>
          <a:endParaRPr lang="en-GB"/>
        </a:p>
      </dgm:t>
    </dgm:pt>
    <dgm:pt modelId="{315B0188-D560-461E-BBDA-BB7A8E064940}" type="sibTrans" cxnId="{B25952EB-9577-4135-8A05-16DDE42ACB7B}">
      <dgm:prSet/>
      <dgm:spPr/>
      <dgm:t>
        <a:bodyPr/>
        <a:lstStyle/>
        <a:p>
          <a:endParaRPr lang="en-GB"/>
        </a:p>
      </dgm:t>
    </dgm:pt>
    <dgm:pt modelId="{7D5A1C91-29F2-4E0F-8B6F-EB78E8C7C3F4}">
      <dgm:prSet custT="1"/>
      <dgm:spPr/>
      <dgm:t>
        <a:bodyPr/>
        <a:lstStyle/>
        <a:p>
          <a:r>
            <a:rPr lang="en-GB" sz="1800" b="1" dirty="0">
              <a:solidFill>
                <a:schemeClr val="accent3">
                  <a:lumMod val="50000"/>
                </a:schemeClr>
              </a:solidFill>
            </a:rPr>
            <a:t>Shapes</a:t>
          </a:r>
        </a:p>
      </dgm:t>
    </dgm:pt>
    <dgm:pt modelId="{6A5A0067-E576-4643-917E-C8DA4D8F6E06}" type="parTrans" cxnId="{A7363808-31BD-4E1F-BD2A-F85154016C92}">
      <dgm:prSet/>
      <dgm:spPr/>
      <dgm:t>
        <a:bodyPr/>
        <a:lstStyle/>
        <a:p>
          <a:endParaRPr lang="en-GB"/>
        </a:p>
      </dgm:t>
    </dgm:pt>
    <dgm:pt modelId="{BF74CDFE-6FED-474E-A320-B6FDD587D721}" type="sibTrans" cxnId="{A7363808-31BD-4E1F-BD2A-F85154016C92}">
      <dgm:prSet/>
      <dgm:spPr/>
      <dgm:t>
        <a:bodyPr/>
        <a:lstStyle/>
        <a:p>
          <a:endParaRPr lang="en-GB"/>
        </a:p>
      </dgm:t>
    </dgm:pt>
    <dgm:pt modelId="{F8306B7E-2A0B-4D24-A79A-BC81CEF78A2F}">
      <dgm:prSet custT="1"/>
      <dgm:spPr/>
      <dgm:t>
        <a:bodyPr/>
        <a:lstStyle/>
        <a:p>
          <a:r>
            <a:rPr lang="en-GB" sz="1800" b="1">
              <a:solidFill>
                <a:schemeClr val="accent3">
                  <a:lumMod val="50000"/>
                </a:schemeClr>
              </a:solidFill>
            </a:rPr>
            <a:t>Smart-Arts</a:t>
          </a:r>
        </a:p>
      </dgm:t>
    </dgm:pt>
    <dgm:pt modelId="{D0ABF46A-4E06-4377-A3A3-C646A1D88CB2}" type="parTrans" cxnId="{5CEBC6FD-610B-477E-B4D8-B4FE96672C0B}">
      <dgm:prSet/>
      <dgm:spPr/>
      <dgm:t>
        <a:bodyPr/>
        <a:lstStyle/>
        <a:p>
          <a:endParaRPr lang="en-GB"/>
        </a:p>
      </dgm:t>
    </dgm:pt>
    <dgm:pt modelId="{E8775CE8-A1AB-4F30-8C36-9153F0A4A4CA}" type="sibTrans" cxnId="{5CEBC6FD-610B-477E-B4D8-B4FE96672C0B}">
      <dgm:prSet/>
      <dgm:spPr/>
      <dgm:t>
        <a:bodyPr/>
        <a:lstStyle/>
        <a:p>
          <a:endParaRPr lang="en-GB"/>
        </a:p>
      </dgm:t>
    </dgm:pt>
    <dgm:pt modelId="{529493FE-C82E-4A7D-AB25-A2297056F8E0}">
      <dgm:prSet custT="1"/>
      <dgm:spPr/>
      <dgm:t>
        <a:bodyPr/>
        <a:lstStyle/>
        <a:p>
          <a:r>
            <a:rPr lang="en-GB" sz="1800" b="1" dirty="0">
              <a:solidFill>
                <a:schemeClr val="accent3">
                  <a:lumMod val="50000"/>
                </a:schemeClr>
              </a:solidFill>
            </a:rPr>
            <a:t>Charts</a:t>
          </a:r>
        </a:p>
      </dgm:t>
    </dgm:pt>
    <dgm:pt modelId="{78C605F1-FAEB-42F2-838A-7716F01217BB}" type="parTrans" cxnId="{BAF813C3-8F2D-481C-89EF-6EDCB231E06D}">
      <dgm:prSet/>
      <dgm:spPr/>
      <dgm:t>
        <a:bodyPr/>
        <a:lstStyle/>
        <a:p>
          <a:endParaRPr lang="en-GB"/>
        </a:p>
      </dgm:t>
    </dgm:pt>
    <dgm:pt modelId="{F69E5D44-FAC8-4C63-8F55-D2A6250CE438}" type="sibTrans" cxnId="{BAF813C3-8F2D-481C-89EF-6EDCB231E06D}">
      <dgm:prSet/>
      <dgm:spPr/>
      <dgm:t>
        <a:bodyPr/>
        <a:lstStyle/>
        <a:p>
          <a:endParaRPr lang="en-GB"/>
        </a:p>
      </dgm:t>
    </dgm:pt>
    <dgm:pt modelId="{36DB4F07-FD83-4481-BA28-A86C2776EA8D}">
      <dgm:prSet/>
      <dgm:spPr/>
      <dgm:t>
        <a:bodyPr/>
        <a:lstStyle/>
        <a:p>
          <a:endParaRPr lang="en-GB"/>
        </a:p>
      </dgm:t>
    </dgm:pt>
    <dgm:pt modelId="{A1CC9028-FCED-48AD-8220-433623A78DFF}" type="parTrans" cxnId="{D84CF278-E4DA-46A4-AE21-9B1E2DE30678}">
      <dgm:prSet/>
      <dgm:spPr/>
      <dgm:t>
        <a:bodyPr/>
        <a:lstStyle/>
        <a:p>
          <a:endParaRPr lang="en-GB"/>
        </a:p>
      </dgm:t>
    </dgm:pt>
    <dgm:pt modelId="{0B75B618-E891-4348-B7F0-E0EC1ECD0506}" type="sibTrans" cxnId="{D84CF278-E4DA-46A4-AE21-9B1E2DE30678}">
      <dgm:prSet/>
      <dgm:spPr/>
      <dgm:t>
        <a:bodyPr/>
        <a:lstStyle/>
        <a:p>
          <a:endParaRPr lang="en-GB"/>
        </a:p>
      </dgm:t>
    </dgm:pt>
    <dgm:pt modelId="{573494CA-B84A-4EFD-8D7F-92B4DBCFEEDD}">
      <dgm:prSet/>
      <dgm:spPr/>
      <dgm:t>
        <a:bodyPr/>
        <a:lstStyle/>
        <a:p>
          <a:endParaRPr lang="en-GB"/>
        </a:p>
      </dgm:t>
    </dgm:pt>
    <dgm:pt modelId="{EAF53EC4-C74B-4B74-8323-DFF3329FDF93}" type="parTrans" cxnId="{6A35AAA5-E52A-48F4-86EC-A8CA3E25B20E}">
      <dgm:prSet/>
      <dgm:spPr/>
      <dgm:t>
        <a:bodyPr/>
        <a:lstStyle/>
        <a:p>
          <a:endParaRPr lang="en-GB"/>
        </a:p>
      </dgm:t>
    </dgm:pt>
    <dgm:pt modelId="{0510668D-BCEF-485C-B84A-FDF579E6656C}" type="sibTrans" cxnId="{6A35AAA5-E52A-48F4-86EC-A8CA3E25B20E}">
      <dgm:prSet/>
      <dgm:spPr/>
      <dgm:t>
        <a:bodyPr/>
        <a:lstStyle/>
        <a:p>
          <a:endParaRPr lang="en-GB"/>
        </a:p>
      </dgm:t>
    </dgm:pt>
    <dgm:pt modelId="{6CB86D9E-9207-418E-BE2F-ACFDD252E9D5}">
      <dgm:prSet/>
      <dgm:spPr/>
      <dgm:t>
        <a:bodyPr/>
        <a:lstStyle/>
        <a:p>
          <a:endParaRPr lang="en-GB"/>
        </a:p>
      </dgm:t>
    </dgm:pt>
    <dgm:pt modelId="{97F7C56F-F8EA-401E-9BF2-6AE1ECE88481}" type="parTrans" cxnId="{080B4DB9-39FB-4DF3-912F-BD2EEB6F9900}">
      <dgm:prSet/>
      <dgm:spPr/>
      <dgm:t>
        <a:bodyPr/>
        <a:lstStyle/>
        <a:p>
          <a:endParaRPr lang="en-GB"/>
        </a:p>
      </dgm:t>
    </dgm:pt>
    <dgm:pt modelId="{26A6C69C-5824-4715-AAC7-F7BCE5AC6943}" type="sibTrans" cxnId="{080B4DB9-39FB-4DF3-912F-BD2EEB6F9900}">
      <dgm:prSet/>
      <dgm:spPr/>
      <dgm:t>
        <a:bodyPr/>
        <a:lstStyle/>
        <a:p>
          <a:endParaRPr lang="en-GB"/>
        </a:p>
      </dgm:t>
    </dgm:pt>
    <dgm:pt modelId="{E12A012A-D350-47ED-BC8C-28177B3B47A2}" type="pres">
      <dgm:prSet presAssocID="{702BC77D-306A-46F7-8152-E881AB079F94}" presName="Name0" presStyleCnt="0">
        <dgm:presLayoutVars>
          <dgm:chMax val="6"/>
          <dgm:chPref val="6"/>
          <dgm:dir/>
        </dgm:presLayoutVars>
      </dgm:prSet>
      <dgm:spPr/>
    </dgm:pt>
    <dgm:pt modelId="{C24B8706-5B33-4BAC-BCCD-D12292E1C307}" type="pres">
      <dgm:prSet presAssocID="{6DF21550-228D-4B1F-9303-F6B3BF96B3F5}" presName="Image1" presStyleCnt="0"/>
      <dgm:spPr/>
    </dgm:pt>
    <dgm:pt modelId="{C2DB0E43-89C1-4008-98DC-5C5C36E53236}" type="pres">
      <dgm:prSet presAssocID="{6DF21550-228D-4B1F-9303-F6B3BF96B3F5}" presName="Image" presStyleLbl="alignImgPlace1" presStyleIdx="0" presStyleCnt="6"/>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1572" t="3914" r="21572" b="3914"/>
          </a:stretch>
        </a:blipFill>
      </dgm:spPr>
      <dgm:extLst>
        <a:ext uri="{E40237B7-FDA0-4F09-8148-C483321AD2D9}">
          <dgm14:cNvPr xmlns:dgm14="http://schemas.microsoft.com/office/drawing/2010/diagram" id="0" name="" descr="Pyramid Shape with solid fill"/>
        </a:ext>
      </dgm:extLst>
    </dgm:pt>
    <dgm:pt modelId="{4599ED9D-2B6E-4718-9C92-CED8AFBCFF1D}" type="pres">
      <dgm:prSet presAssocID="{6DF21550-228D-4B1F-9303-F6B3BF96B3F5}" presName="Accent1" presStyleCnt="0"/>
      <dgm:spPr/>
    </dgm:pt>
    <dgm:pt modelId="{D1659E18-AEA9-4D6B-BE1F-DC2B4C21C897}" type="pres">
      <dgm:prSet presAssocID="{6DF21550-228D-4B1F-9303-F6B3BF96B3F5}" presName="Accent" presStyleLbl="parChTrans1D1" presStyleIdx="0" presStyleCnt="6"/>
      <dgm:spPr/>
    </dgm:pt>
    <dgm:pt modelId="{C1C1B24E-AC36-47CC-ACA6-C4E8FAEB9C8C}" type="pres">
      <dgm:prSet presAssocID="{6DF21550-228D-4B1F-9303-F6B3BF96B3F5}" presName="Text1" presStyleLbl="alignImgPlace1" presStyleIdx="0" presStyleCnt="6">
        <dgm:presLayoutVars>
          <dgm:chMax val="0"/>
          <dgm:chPref val="0"/>
          <dgm:bulletEnabled val="1"/>
        </dgm:presLayoutVars>
      </dgm:prSet>
      <dgm:spPr/>
    </dgm:pt>
    <dgm:pt modelId="{F4DBEFD7-2EAC-40A2-8936-C70C1F4BCA0E}" type="pres">
      <dgm:prSet presAssocID="{F2B0100B-6AD4-4B21-ADCB-C45062A5C6EB}" presName="Image2" presStyleCnt="0"/>
      <dgm:spPr/>
    </dgm:pt>
    <dgm:pt modelId="{8C8F7819-F9EE-493D-8136-16028691AC70}" type="pres">
      <dgm:prSet presAssocID="{F2B0100B-6AD4-4B21-ADCB-C45062A5C6EB}" presName="Image" presStyleLbl="alignImgPlace1" presStyleIdx="1" presStyleCnt="6"/>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6419" t="7278" r="6419" b="7278"/>
          </a:stretch>
        </a:blipFill>
      </dgm:spPr>
      <dgm:extLst>
        <a:ext uri="{E40237B7-FDA0-4F09-8148-C483321AD2D9}">
          <dgm14:cNvPr xmlns:dgm14="http://schemas.microsoft.com/office/drawing/2010/diagram" id="0" name="" descr="Document with solid fill"/>
        </a:ext>
      </dgm:extLst>
    </dgm:pt>
    <dgm:pt modelId="{10647562-C32C-423C-8E88-72520D1CC297}" type="pres">
      <dgm:prSet presAssocID="{F2B0100B-6AD4-4B21-ADCB-C45062A5C6EB}" presName="Accent2" presStyleCnt="0"/>
      <dgm:spPr/>
    </dgm:pt>
    <dgm:pt modelId="{C7C26E03-23ED-4454-8BDE-0F5E797D988A}" type="pres">
      <dgm:prSet presAssocID="{F2B0100B-6AD4-4B21-ADCB-C45062A5C6EB}" presName="Accent" presStyleLbl="parChTrans1D1" presStyleIdx="1" presStyleCnt="6"/>
      <dgm:spPr/>
    </dgm:pt>
    <dgm:pt modelId="{E3FE94DA-A155-4151-AD91-382D7821D475}" type="pres">
      <dgm:prSet presAssocID="{F2B0100B-6AD4-4B21-ADCB-C45062A5C6EB}" presName="Text2" presStyleLbl="alignImgPlace1" presStyleIdx="1" presStyleCnt="6">
        <dgm:presLayoutVars>
          <dgm:chMax val="0"/>
          <dgm:chPref val="0"/>
          <dgm:bulletEnabled val="1"/>
        </dgm:presLayoutVars>
      </dgm:prSet>
      <dgm:spPr/>
    </dgm:pt>
    <dgm:pt modelId="{7F014D79-1101-469B-B9E6-FE6688934477}" type="pres">
      <dgm:prSet presAssocID="{CA6D17F6-B12F-487A-B019-637D4F9C5B5D}" presName="Image3" presStyleCnt="0"/>
      <dgm:spPr/>
    </dgm:pt>
    <dgm:pt modelId="{74DDA69E-343C-4080-84E1-19E1025356D1}" type="pres">
      <dgm:prSet presAssocID="{CA6D17F6-B12F-487A-B019-637D4F9C5B5D}" presName="Image" presStyleLbl="alignImgPlace1" presStyleIdx="2" presStyleCnt="6"/>
      <dgm:spPr>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4170" t="-7972" r="14170" b="-7972"/>
          </a:stretch>
        </a:blipFill>
      </dgm:spPr>
      <dgm:extLst>
        <a:ext uri="{E40237B7-FDA0-4F09-8148-C483321AD2D9}">
          <dgm14:cNvPr xmlns:dgm14="http://schemas.microsoft.com/office/drawing/2010/diagram" id="0" name="" descr="Image with solid fill"/>
        </a:ext>
      </dgm:extLst>
    </dgm:pt>
    <dgm:pt modelId="{C2EABBE2-3655-4C40-A064-8822D33298A0}" type="pres">
      <dgm:prSet presAssocID="{CA6D17F6-B12F-487A-B019-637D4F9C5B5D}" presName="Accent3" presStyleCnt="0"/>
      <dgm:spPr/>
    </dgm:pt>
    <dgm:pt modelId="{DD17D4DE-9598-4E95-A599-FE3EDE208FD8}" type="pres">
      <dgm:prSet presAssocID="{CA6D17F6-B12F-487A-B019-637D4F9C5B5D}" presName="Accent" presStyleLbl="parChTrans1D1" presStyleIdx="2" presStyleCnt="6"/>
      <dgm:spPr/>
    </dgm:pt>
    <dgm:pt modelId="{B0B819AE-549D-4EDE-A44C-556AFF712420}" type="pres">
      <dgm:prSet presAssocID="{CA6D17F6-B12F-487A-B019-637D4F9C5B5D}" presName="Text3" presStyleLbl="alignImgPlace1" presStyleIdx="2" presStyleCnt="6">
        <dgm:presLayoutVars>
          <dgm:chMax val="0"/>
          <dgm:chPref val="0"/>
          <dgm:bulletEnabled val="1"/>
        </dgm:presLayoutVars>
      </dgm:prSet>
      <dgm:spPr/>
    </dgm:pt>
    <dgm:pt modelId="{A214EDC6-8DC6-4E25-B70C-0B09FA942B80}" type="pres">
      <dgm:prSet presAssocID="{7D5A1C91-29F2-4E0F-8B6F-EB78E8C7C3F4}" presName="Image4" presStyleCnt="0"/>
      <dgm:spPr/>
    </dgm:pt>
    <dgm:pt modelId="{62FCB4C1-7641-49E5-97DC-6EB0182E9D16}" type="pres">
      <dgm:prSet presAssocID="{7D5A1C91-29F2-4E0F-8B6F-EB78E8C7C3F4}" presName="Image" presStyleLbl="alignImgPlac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000" r="-1000"/>
          </a:stretch>
        </a:blipFill>
      </dgm:spPr>
      <dgm:extLst>
        <a:ext uri="{E40237B7-FDA0-4F09-8148-C483321AD2D9}">
          <dgm14:cNvPr xmlns:dgm14="http://schemas.microsoft.com/office/drawing/2010/diagram" id="0" name="" descr="Basic Shapes with solid fill"/>
        </a:ext>
      </dgm:extLst>
    </dgm:pt>
    <dgm:pt modelId="{4642045B-5836-47EC-A902-9699F0E5114E}" type="pres">
      <dgm:prSet presAssocID="{7D5A1C91-29F2-4E0F-8B6F-EB78E8C7C3F4}" presName="Accent4" presStyleCnt="0"/>
      <dgm:spPr/>
    </dgm:pt>
    <dgm:pt modelId="{0A2C7A1C-C4DE-446D-9DFC-4E39A332372B}" type="pres">
      <dgm:prSet presAssocID="{7D5A1C91-29F2-4E0F-8B6F-EB78E8C7C3F4}" presName="Accent" presStyleLbl="parChTrans1D1" presStyleIdx="3" presStyleCnt="6" custScaleX="132543" custLinFactNeighborX="-13601" custLinFactNeighborY="-3804"/>
      <dgm:spPr/>
    </dgm:pt>
    <dgm:pt modelId="{71CA7581-11C0-414F-B6EF-47C797527082}" type="pres">
      <dgm:prSet presAssocID="{7D5A1C91-29F2-4E0F-8B6F-EB78E8C7C3F4}" presName="Text4" presStyleLbl="alignImgPlace1" presStyleIdx="3" presStyleCnt="6" custScaleX="238198" custLinFactNeighborX="-34974">
        <dgm:presLayoutVars>
          <dgm:chMax val="0"/>
          <dgm:chPref val="0"/>
          <dgm:bulletEnabled val="1"/>
        </dgm:presLayoutVars>
      </dgm:prSet>
      <dgm:spPr/>
    </dgm:pt>
    <dgm:pt modelId="{A661FAD8-3233-41DE-AC3C-90C3BA30A8DE}" type="pres">
      <dgm:prSet presAssocID="{F8306B7E-2A0B-4D24-A79A-BC81CEF78A2F}" presName="Image5" presStyleCnt="0"/>
      <dgm:spPr/>
    </dgm:pt>
    <dgm:pt modelId="{3E45351A-6575-4A0C-AEA2-1CF534B43938}" type="pres">
      <dgm:prSet presAssocID="{F8306B7E-2A0B-4D24-A79A-BC81CEF78A2F}" presName="Image" presStyleLbl="alignImgPlace1" presStyleIdx="4" presStyleCnt="6"/>
      <dgm:spPr>
        <a:blipFill dpi="0" rotWithShape="1">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8543" t="7278" r="8543" b="7278"/>
          </a:stretch>
        </a:blipFill>
      </dgm:spPr>
      <dgm:extLst>
        <a:ext uri="{E40237B7-FDA0-4F09-8148-C483321AD2D9}">
          <dgm14:cNvPr xmlns:dgm14="http://schemas.microsoft.com/office/drawing/2010/diagram" id="0" name="" descr="Head with gears with solid fill"/>
        </a:ext>
      </dgm:extLst>
    </dgm:pt>
    <dgm:pt modelId="{0726E26C-6E23-470E-B494-6123AC0DDC1D}" type="pres">
      <dgm:prSet presAssocID="{F8306B7E-2A0B-4D24-A79A-BC81CEF78A2F}" presName="Accent5" presStyleCnt="0"/>
      <dgm:spPr/>
    </dgm:pt>
    <dgm:pt modelId="{8063A562-C11A-4EF1-8877-4F38038D3BF9}" type="pres">
      <dgm:prSet presAssocID="{F8306B7E-2A0B-4D24-A79A-BC81CEF78A2F}" presName="Accent" presStyleLbl="parChTrans1D1" presStyleIdx="4" presStyleCnt="6"/>
      <dgm:spPr/>
    </dgm:pt>
    <dgm:pt modelId="{C0722C13-75B5-4022-98A4-2D1BC362EB8C}" type="pres">
      <dgm:prSet presAssocID="{F8306B7E-2A0B-4D24-A79A-BC81CEF78A2F}" presName="Text5" presStyleLbl="alignImgPlace1" presStyleIdx="4" presStyleCnt="6">
        <dgm:presLayoutVars>
          <dgm:chMax val="0"/>
          <dgm:chPref val="0"/>
          <dgm:bulletEnabled val="1"/>
        </dgm:presLayoutVars>
      </dgm:prSet>
      <dgm:spPr/>
    </dgm:pt>
    <dgm:pt modelId="{98C26EC9-FEA5-4B7F-84CC-9239A2B870F1}" type="pres">
      <dgm:prSet presAssocID="{529493FE-C82E-4A7D-AB25-A2297056F8E0}" presName="Image6" presStyleCnt="0"/>
      <dgm:spPr/>
    </dgm:pt>
    <dgm:pt modelId="{9AD27556-93BE-46DA-A7B4-C79E5C57812B}" type="pres">
      <dgm:prSet presAssocID="{529493FE-C82E-4A7D-AB25-A2297056F8E0}" presName="Image" presStyleLbl="alignImgPlace1" presStyleIdx="5" presStyleCnt="6"/>
      <dgm:spPr>
        <a:blipFill dpi="0" rotWithShape="1">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l="22865" t="2075" r="22865" b="2075"/>
          </a:stretch>
        </a:blipFill>
      </dgm:spPr>
      <dgm:extLst>
        <a:ext uri="{E40237B7-FDA0-4F09-8148-C483321AD2D9}">
          <dgm14:cNvPr xmlns:dgm14="http://schemas.microsoft.com/office/drawing/2010/diagram" id="0" name="" descr="Bar chart with solid fill"/>
        </a:ext>
      </dgm:extLst>
    </dgm:pt>
    <dgm:pt modelId="{8FB62C9E-B6DC-4BB4-9DC6-AEA0BDBEA1A5}" type="pres">
      <dgm:prSet presAssocID="{529493FE-C82E-4A7D-AB25-A2297056F8E0}" presName="Accent6" presStyleCnt="0"/>
      <dgm:spPr/>
    </dgm:pt>
    <dgm:pt modelId="{3B99910D-3AD5-4323-803F-64431198960F}" type="pres">
      <dgm:prSet presAssocID="{529493FE-C82E-4A7D-AB25-A2297056F8E0}" presName="Accent" presStyleLbl="parChTrans1D1" presStyleIdx="5" presStyleCnt="6"/>
      <dgm:spPr/>
    </dgm:pt>
    <dgm:pt modelId="{59764810-C8EA-41A5-AD81-A021FF4F5162}" type="pres">
      <dgm:prSet presAssocID="{529493FE-C82E-4A7D-AB25-A2297056F8E0}" presName="Text6" presStyleLbl="alignImgPlace1" presStyleIdx="5" presStyleCnt="6">
        <dgm:presLayoutVars>
          <dgm:chMax val="0"/>
          <dgm:chPref val="0"/>
          <dgm:bulletEnabled val="1"/>
        </dgm:presLayoutVars>
      </dgm:prSet>
      <dgm:spPr/>
    </dgm:pt>
  </dgm:ptLst>
  <dgm:cxnLst>
    <dgm:cxn modelId="{A7363808-31BD-4E1F-BD2A-F85154016C92}" srcId="{702BC77D-306A-46F7-8152-E881AB079F94}" destId="{7D5A1C91-29F2-4E0F-8B6F-EB78E8C7C3F4}" srcOrd="3" destOrd="0" parTransId="{6A5A0067-E576-4643-917E-C8DA4D8F6E06}" sibTransId="{BF74CDFE-6FED-474E-A320-B6FDD587D721}"/>
    <dgm:cxn modelId="{35770B3B-74DC-451F-9E3C-F3D292F61360}" type="presOf" srcId="{F8306B7E-2A0B-4D24-A79A-BC81CEF78A2F}" destId="{C0722C13-75B5-4022-98A4-2D1BC362EB8C}" srcOrd="0" destOrd="0" presId="urn:microsoft.com/office/officeart/2011/layout/ThemePictureAccent"/>
    <dgm:cxn modelId="{C569AB46-D2FE-43B1-8423-CA624D679C61}" srcId="{702BC77D-306A-46F7-8152-E881AB079F94}" destId="{6DF21550-228D-4B1F-9303-F6B3BF96B3F5}" srcOrd="0" destOrd="0" parTransId="{A4B71CAE-A8CE-4D8B-BE7D-E901CD7DA74D}" sibTransId="{D1D2CB36-52B7-4FA0-9B1D-C5FB6C82B33E}"/>
    <dgm:cxn modelId="{392B556F-BA13-4F4D-BC52-618CBFCAE0A9}" type="presOf" srcId="{CA6D17F6-B12F-487A-B019-637D4F9C5B5D}" destId="{B0B819AE-549D-4EDE-A44C-556AFF712420}" srcOrd="0" destOrd="0" presId="urn:microsoft.com/office/officeart/2011/layout/ThemePictureAccent"/>
    <dgm:cxn modelId="{D84CF278-E4DA-46A4-AE21-9B1E2DE30678}" srcId="{702BC77D-306A-46F7-8152-E881AB079F94}" destId="{36DB4F07-FD83-4481-BA28-A86C2776EA8D}" srcOrd="6" destOrd="0" parTransId="{A1CC9028-FCED-48AD-8220-433623A78DFF}" sibTransId="{0B75B618-E891-4348-B7F0-E0EC1ECD0506}"/>
    <dgm:cxn modelId="{7BEE3286-6364-4295-AE80-C72BDF7CE59C}" type="presOf" srcId="{7D5A1C91-29F2-4E0F-8B6F-EB78E8C7C3F4}" destId="{71CA7581-11C0-414F-B6EF-47C797527082}" srcOrd="0" destOrd="0" presId="urn:microsoft.com/office/officeart/2011/layout/ThemePictureAccent"/>
    <dgm:cxn modelId="{6A35AAA5-E52A-48F4-86EC-A8CA3E25B20E}" srcId="{702BC77D-306A-46F7-8152-E881AB079F94}" destId="{573494CA-B84A-4EFD-8D7F-92B4DBCFEEDD}" srcOrd="7" destOrd="0" parTransId="{EAF53EC4-C74B-4B74-8323-DFF3329FDF93}" sibTransId="{0510668D-BCEF-485C-B84A-FDF579E6656C}"/>
    <dgm:cxn modelId="{B6B2F7AE-88D1-4102-8DE4-5F9C98BC684B}" type="presOf" srcId="{702BC77D-306A-46F7-8152-E881AB079F94}" destId="{E12A012A-D350-47ED-BC8C-28177B3B47A2}" srcOrd="0" destOrd="0" presId="urn:microsoft.com/office/officeart/2011/layout/ThemePictureAccent"/>
    <dgm:cxn modelId="{080B4DB9-39FB-4DF3-912F-BD2EEB6F9900}" srcId="{702BC77D-306A-46F7-8152-E881AB079F94}" destId="{6CB86D9E-9207-418E-BE2F-ACFDD252E9D5}" srcOrd="8" destOrd="0" parTransId="{97F7C56F-F8EA-401E-9BF2-6AE1ECE88481}" sibTransId="{26A6C69C-5824-4715-AAC7-F7BCE5AC6943}"/>
    <dgm:cxn modelId="{BAF813C3-8F2D-481C-89EF-6EDCB231E06D}" srcId="{702BC77D-306A-46F7-8152-E881AB079F94}" destId="{529493FE-C82E-4A7D-AB25-A2297056F8E0}" srcOrd="5" destOrd="0" parTransId="{78C605F1-FAEB-42F2-838A-7716F01217BB}" sibTransId="{F69E5D44-FAC8-4C63-8F55-D2A6250CE438}"/>
    <dgm:cxn modelId="{B3A754C5-EB0D-4EA8-9462-8C07965CD560}" type="presOf" srcId="{F2B0100B-6AD4-4B21-ADCB-C45062A5C6EB}" destId="{E3FE94DA-A155-4151-AD91-382D7821D475}" srcOrd="0" destOrd="0" presId="urn:microsoft.com/office/officeart/2011/layout/ThemePictureAccent"/>
    <dgm:cxn modelId="{4B0292CA-32B3-4A5D-80CB-CD2158D87B1E}" srcId="{702BC77D-306A-46F7-8152-E881AB079F94}" destId="{F2B0100B-6AD4-4B21-ADCB-C45062A5C6EB}" srcOrd="1" destOrd="0" parTransId="{C05395CE-B425-43C5-8297-FE2C56C64053}" sibTransId="{AC6DA096-3AB5-429B-8995-E08BF59BA241}"/>
    <dgm:cxn modelId="{D75E15E6-6E46-4C6C-B118-DBA71DC8BBFC}" type="presOf" srcId="{529493FE-C82E-4A7D-AB25-A2297056F8E0}" destId="{59764810-C8EA-41A5-AD81-A021FF4F5162}" srcOrd="0" destOrd="0" presId="urn:microsoft.com/office/officeart/2011/layout/ThemePictureAccent"/>
    <dgm:cxn modelId="{B25952EB-9577-4135-8A05-16DDE42ACB7B}" srcId="{702BC77D-306A-46F7-8152-E881AB079F94}" destId="{CA6D17F6-B12F-487A-B019-637D4F9C5B5D}" srcOrd="2" destOrd="0" parTransId="{8A49BA3A-E4BD-42C1-B281-A8242BE79A66}" sibTransId="{315B0188-D560-461E-BBDA-BB7A8E064940}"/>
    <dgm:cxn modelId="{AD9F3CF2-D02C-4339-B519-E86CC872C2A0}" type="presOf" srcId="{6DF21550-228D-4B1F-9303-F6B3BF96B3F5}" destId="{C1C1B24E-AC36-47CC-ACA6-C4E8FAEB9C8C}" srcOrd="0" destOrd="0" presId="urn:microsoft.com/office/officeart/2011/layout/ThemePictureAccent"/>
    <dgm:cxn modelId="{5CEBC6FD-610B-477E-B4D8-B4FE96672C0B}" srcId="{702BC77D-306A-46F7-8152-E881AB079F94}" destId="{F8306B7E-2A0B-4D24-A79A-BC81CEF78A2F}" srcOrd="4" destOrd="0" parTransId="{D0ABF46A-4E06-4377-A3A3-C646A1D88CB2}" sibTransId="{E8775CE8-A1AB-4F30-8C36-9153F0A4A4CA}"/>
    <dgm:cxn modelId="{CCF1B73A-2481-4F8F-BABC-2EC593F3F6AE}" type="presParOf" srcId="{E12A012A-D350-47ED-BC8C-28177B3B47A2}" destId="{C24B8706-5B33-4BAC-BCCD-D12292E1C307}" srcOrd="0" destOrd="0" presId="urn:microsoft.com/office/officeart/2011/layout/ThemePictureAccent"/>
    <dgm:cxn modelId="{C21733BC-436E-4AF0-9D0E-C1E25B05E8E1}" type="presParOf" srcId="{C24B8706-5B33-4BAC-BCCD-D12292E1C307}" destId="{C2DB0E43-89C1-4008-98DC-5C5C36E53236}" srcOrd="0" destOrd="0" presId="urn:microsoft.com/office/officeart/2011/layout/ThemePictureAccent"/>
    <dgm:cxn modelId="{3704055E-1ABC-45DC-8B22-BD1EFEDF9889}" type="presParOf" srcId="{E12A012A-D350-47ED-BC8C-28177B3B47A2}" destId="{4599ED9D-2B6E-4718-9C92-CED8AFBCFF1D}" srcOrd="1" destOrd="0" presId="urn:microsoft.com/office/officeart/2011/layout/ThemePictureAccent"/>
    <dgm:cxn modelId="{977702A4-846C-4574-893C-3EA50812B276}" type="presParOf" srcId="{4599ED9D-2B6E-4718-9C92-CED8AFBCFF1D}" destId="{D1659E18-AEA9-4D6B-BE1F-DC2B4C21C897}" srcOrd="0" destOrd="0" presId="urn:microsoft.com/office/officeart/2011/layout/ThemePictureAccent"/>
    <dgm:cxn modelId="{5EE5DC6E-466D-433E-AD79-2CAB34C1C8A6}" type="presParOf" srcId="{E12A012A-D350-47ED-BC8C-28177B3B47A2}" destId="{C1C1B24E-AC36-47CC-ACA6-C4E8FAEB9C8C}" srcOrd="2" destOrd="0" presId="urn:microsoft.com/office/officeart/2011/layout/ThemePictureAccent"/>
    <dgm:cxn modelId="{93F237E5-78E4-4E6B-991E-27111D7B5A1D}" type="presParOf" srcId="{E12A012A-D350-47ED-BC8C-28177B3B47A2}" destId="{F4DBEFD7-2EAC-40A2-8936-C70C1F4BCA0E}" srcOrd="3" destOrd="0" presId="urn:microsoft.com/office/officeart/2011/layout/ThemePictureAccent"/>
    <dgm:cxn modelId="{1B7E8387-7DD6-469D-90AF-B8A7C8C859C6}" type="presParOf" srcId="{F4DBEFD7-2EAC-40A2-8936-C70C1F4BCA0E}" destId="{8C8F7819-F9EE-493D-8136-16028691AC70}" srcOrd="0" destOrd="0" presId="urn:microsoft.com/office/officeart/2011/layout/ThemePictureAccent"/>
    <dgm:cxn modelId="{C478AF3A-38CF-4122-91C4-5277334CF41C}" type="presParOf" srcId="{E12A012A-D350-47ED-BC8C-28177B3B47A2}" destId="{10647562-C32C-423C-8E88-72520D1CC297}" srcOrd="4" destOrd="0" presId="urn:microsoft.com/office/officeart/2011/layout/ThemePictureAccent"/>
    <dgm:cxn modelId="{C8DB3081-E01D-44A7-B5D1-36BEDF20C047}" type="presParOf" srcId="{10647562-C32C-423C-8E88-72520D1CC297}" destId="{C7C26E03-23ED-4454-8BDE-0F5E797D988A}" srcOrd="0" destOrd="0" presId="urn:microsoft.com/office/officeart/2011/layout/ThemePictureAccent"/>
    <dgm:cxn modelId="{EE494BE8-64F6-4399-BDE2-A7DD6A2D5560}" type="presParOf" srcId="{E12A012A-D350-47ED-BC8C-28177B3B47A2}" destId="{E3FE94DA-A155-4151-AD91-382D7821D475}" srcOrd="5" destOrd="0" presId="urn:microsoft.com/office/officeart/2011/layout/ThemePictureAccent"/>
    <dgm:cxn modelId="{7559B898-EC04-4640-A6C4-B942ECA83DA1}" type="presParOf" srcId="{E12A012A-D350-47ED-BC8C-28177B3B47A2}" destId="{7F014D79-1101-469B-B9E6-FE6688934477}" srcOrd="6" destOrd="0" presId="urn:microsoft.com/office/officeart/2011/layout/ThemePictureAccent"/>
    <dgm:cxn modelId="{6847BABA-F51B-4D52-9450-86F0AD90DB49}" type="presParOf" srcId="{7F014D79-1101-469B-B9E6-FE6688934477}" destId="{74DDA69E-343C-4080-84E1-19E1025356D1}" srcOrd="0" destOrd="0" presId="urn:microsoft.com/office/officeart/2011/layout/ThemePictureAccent"/>
    <dgm:cxn modelId="{493B3448-26E1-46A8-A800-4813F10FDA6B}" type="presParOf" srcId="{E12A012A-D350-47ED-BC8C-28177B3B47A2}" destId="{C2EABBE2-3655-4C40-A064-8822D33298A0}" srcOrd="7" destOrd="0" presId="urn:microsoft.com/office/officeart/2011/layout/ThemePictureAccent"/>
    <dgm:cxn modelId="{89FCD072-8925-45F6-8CCC-BB017F347833}" type="presParOf" srcId="{C2EABBE2-3655-4C40-A064-8822D33298A0}" destId="{DD17D4DE-9598-4E95-A599-FE3EDE208FD8}" srcOrd="0" destOrd="0" presId="urn:microsoft.com/office/officeart/2011/layout/ThemePictureAccent"/>
    <dgm:cxn modelId="{05763AF4-EAE6-497A-B267-F7B9DCD75A28}" type="presParOf" srcId="{E12A012A-D350-47ED-BC8C-28177B3B47A2}" destId="{B0B819AE-549D-4EDE-A44C-556AFF712420}" srcOrd="8" destOrd="0" presId="urn:microsoft.com/office/officeart/2011/layout/ThemePictureAccent"/>
    <dgm:cxn modelId="{D37C630A-72A6-4E30-A6E3-DA93CB8462D5}" type="presParOf" srcId="{E12A012A-D350-47ED-BC8C-28177B3B47A2}" destId="{A214EDC6-8DC6-4E25-B70C-0B09FA942B80}" srcOrd="9" destOrd="0" presId="urn:microsoft.com/office/officeart/2011/layout/ThemePictureAccent"/>
    <dgm:cxn modelId="{0E34F5E5-5057-463C-953F-EBBA97F4E22D}" type="presParOf" srcId="{A214EDC6-8DC6-4E25-B70C-0B09FA942B80}" destId="{62FCB4C1-7641-49E5-97DC-6EB0182E9D16}" srcOrd="0" destOrd="0" presId="urn:microsoft.com/office/officeart/2011/layout/ThemePictureAccent"/>
    <dgm:cxn modelId="{6C123B53-29DD-4C4F-B770-71A1C79C45CD}" type="presParOf" srcId="{E12A012A-D350-47ED-BC8C-28177B3B47A2}" destId="{4642045B-5836-47EC-A902-9699F0E5114E}" srcOrd="10" destOrd="0" presId="urn:microsoft.com/office/officeart/2011/layout/ThemePictureAccent"/>
    <dgm:cxn modelId="{EE414C2F-4422-4CF0-92D4-96780A3BB0D7}" type="presParOf" srcId="{4642045B-5836-47EC-A902-9699F0E5114E}" destId="{0A2C7A1C-C4DE-446D-9DFC-4E39A332372B}" srcOrd="0" destOrd="0" presId="urn:microsoft.com/office/officeart/2011/layout/ThemePictureAccent"/>
    <dgm:cxn modelId="{1C0C7741-ADC0-4A7B-9B57-7AB58EA74A47}" type="presParOf" srcId="{E12A012A-D350-47ED-BC8C-28177B3B47A2}" destId="{71CA7581-11C0-414F-B6EF-47C797527082}" srcOrd="11" destOrd="0" presId="urn:microsoft.com/office/officeart/2011/layout/ThemePictureAccent"/>
    <dgm:cxn modelId="{F8DB3303-80F8-44E3-99E2-B55090329DD3}" type="presParOf" srcId="{E12A012A-D350-47ED-BC8C-28177B3B47A2}" destId="{A661FAD8-3233-41DE-AC3C-90C3BA30A8DE}" srcOrd="12" destOrd="0" presId="urn:microsoft.com/office/officeart/2011/layout/ThemePictureAccent"/>
    <dgm:cxn modelId="{C13510C7-B95B-45A1-B7E4-CA0DF2BACE77}" type="presParOf" srcId="{A661FAD8-3233-41DE-AC3C-90C3BA30A8DE}" destId="{3E45351A-6575-4A0C-AEA2-1CF534B43938}" srcOrd="0" destOrd="0" presId="urn:microsoft.com/office/officeart/2011/layout/ThemePictureAccent"/>
    <dgm:cxn modelId="{92072D2F-0DE5-4C8B-85FB-F8EE21D200BC}" type="presParOf" srcId="{E12A012A-D350-47ED-BC8C-28177B3B47A2}" destId="{0726E26C-6E23-470E-B494-6123AC0DDC1D}" srcOrd="13" destOrd="0" presId="urn:microsoft.com/office/officeart/2011/layout/ThemePictureAccent"/>
    <dgm:cxn modelId="{40469281-CE83-4A21-90C4-25A0A285DFF6}" type="presParOf" srcId="{0726E26C-6E23-470E-B494-6123AC0DDC1D}" destId="{8063A562-C11A-4EF1-8877-4F38038D3BF9}" srcOrd="0" destOrd="0" presId="urn:microsoft.com/office/officeart/2011/layout/ThemePictureAccent"/>
    <dgm:cxn modelId="{CB82C449-BBC7-4663-B81B-F85A260B5943}" type="presParOf" srcId="{E12A012A-D350-47ED-BC8C-28177B3B47A2}" destId="{C0722C13-75B5-4022-98A4-2D1BC362EB8C}" srcOrd="14" destOrd="0" presId="urn:microsoft.com/office/officeart/2011/layout/ThemePictureAccent"/>
    <dgm:cxn modelId="{985708A9-D809-4B0B-8C42-2EE233BEEF4F}" type="presParOf" srcId="{E12A012A-D350-47ED-BC8C-28177B3B47A2}" destId="{98C26EC9-FEA5-4B7F-84CC-9239A2B870F1}" srcOrd="15" destOrd="0" presId="urn:microsoft.com/office/officeart/2011/layout/ThemePictureAccent"/>
    <dgm:cxn modelId="{C3881179-5012-420C-ABAE-6497A6FF4A0A}" type="presParOf" srcId="{98C26EC9-FEA5-4B7F-84CC-9239A2B870F1}" destId="{9AD27556-93BE-46DA-A7B4-C79E5C57812B}" srcOrd="0" destOrd="0" presId="urn:microsoft.com/office/officeart/2011/layout/ThemePictureAccent"/>
    <dgm:cxn modelId="{1EA098B5-1089-407A-A52B-DB6D8F3EA078}" type="presParOf" srcId="{E12A012A-D350-47ED-BC8C-28177B3B47A2}" destId="{8FB62C9E-B6DC-4BB4-9DC6-AEA0BDBEA1A5}" srcOrd="16" destOrd="0" presId="urn:microsoft.com/office/officeart/2011/layout/ThemePictureAccent"/>
    <dgm:cxn modelId="{F62F4AEA-3001-4DDC-94C1-9201EAEFF5CC}" type="presParOf" srcId="{8FB62C9E-B6DC-4BB4-9DC6-AEA0BDBEA1A5}" destId="{3B99910D-3AD5-4323-803F-64431198960F}" srcOrd="0" destOrd="0" presId="urn:microsoft.com/office/officeart/2011/layout/ThemePictureAccent"/>
    <dgm:cxn modelId="{7FED5F80-BB97-430C-8A9A-BB365656EC24}" type="presParOf" srcId="{E12A012A-D350-47ED-BC8C-28177B3B47A2}" destId="{59764810-C8EA-41A5-AD81-A021FF4F5162}" srcOrd="17" destOrd="0" presId="urn:microsoft.com/office/officeart/2011/layout/ThemePictureAccen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9CDC0AA-DE69-487C-A469-53E14758566E}" type="doc">
      <dgm:prSet loTypeId="urn:microsoft.com/office/officeart/2005/8/layout/radial2" loCatId="relationship" qsTypeId="urn:microsoft.com/office/officeart/2005/8/quickstyle/simple1" qsCatId="simple" csTypeId="urn:microsoft.com/office/officeart/2005/8/colors/colorful1" csCatId="colorful" phldr="1"/>
      <dgm:spPr/>
      <dgm:t>
        <a:bodyPr/>
        <a:lstStyle/>
        <a:p>
          <a:endParaRPr lang="nl-BE"/>
        </a:p>
      </dgm:t>
    </dgm:pt>
    <dgm:pt modelId="{BAA2B049-EF48-4482-A081-95CC0447D4F7}">
      <dgm:prSet custT="1"/>
      <dgm:spPr/>
      <dgm:t>
        <a:bodyPr/>
        <a:lstStyle/>
        <a:p>
          <a:r>
            <a:rPr lang="en-GB" sz="2400" dirty="0"/>
            <a:t>Slide transitions</a:t>
          </a:r>
          <a:endParaRPr lang="nl-BE" sz="2400" dirty="0"/>
        </a:p>
      </dgm:t>
    </dgm:pt>
    <dgm:pt modelId="{2BE8A2A7-8D74-4CE2-91AE-9BC24CFEE864}" type="parTrans" cxnId="{273ED0B5-25EB-4FFC-9EC2-C041AC724619}">
      <dgm:prSet/>
      <dgm:spPr/>
      <dgm:t>
        <a:bodyPr/>
        <a:lstStyle/>
        <a:p>
          <a:endParaRPr lang="nl-BE"/>
        </a:p>
      </dgm:t>
    </dgm:pt>
    <dgm:pt modelId="{B8523A47-384A-4C5C-A3EA-69F2A69A5C3E}" type="sibTrans" cxnId="{273ED0B5-25EB-4FFC-9EC2-C041AC724619}">
      <dgm:prSet/>
      <dgm:spPr/>
      <dgm:t>
        <a:bodyPr/>
        <a:lstStyle/>
        <a:p>
          <a:endParaRPr lang="nl-BE"/>
        </a:p>
      </dgm:t>
    </dgm:pt>
    <dgm:pt modelId="{DC198A8C-B55D-48DC-87C2-DB18CB2ACBD4}">
      <dgm:prSet custT="1"/>
      <dgm:spPr/>
      <dgm:t>
        <a:bodyPr/>
        <a:lstStyle/>
        <a:p>
          <a:r>
            <a:rPr lang="en-GB" sz="2400" dirty="0"/>
            <a:t>Animating objects</a:t>
          </a:r>
          <a:endParaRPr lang="nl-BE" sz="2400" dirty="0"/>
        </a:p>
      </dgm:t>
    </dgm:pt>
    <dgm:pt modelId="{90BF4449-4D1F-4998-ADF9-F6D8DAF74428}" type="parTrans" cxnId="{05206EDA-E26D-43D2-ADAE-3842ED981E75}">
      <dgm:prSet/>
      <dgm:spPr/>
      <dgm:t>
        <a:bodyPr/>
        <a:lstStyle/>
        <a:p>
          <a:endParaRPr lang="nl-BE"/>
        </a:p>
      </dgm:t>
    </dgm:pt>
    <dgm:pt modelId="{18B326FC-512C-461F-BB7D-3582BEA81B84}" type="sibTrans" cxnId="{05206EDA-E26D-43D2-ADAE-3842ED981E75}">
      <dgm:prSet/>
      <dgm:spPr/>
      <dgm:t>
        <a:bodyPr/>
        <a:lstStyle/>
        <a:p>
          <a:endParaRPr lang="nl-BE"/>
        </a:p>
      </dgm:t>
    </dgm:pt>
    <dgm:pt modelId="{397E3F82-3889-47C7-ADE2-A7EFC2DDD1D0}">
      <dgm:prSet custT="1"/>
      <dgm:spPr/>
      <dgm:t>
        <a:bodyPr/>
        <a:lstStyle/>
        <a:p>
          <a:r>
            <a:rPr lang="en-GB" sz="2400" dirty="0">
              <a:hlinkClick xmlns:r="http://schemas.openxmlformats.org/officeDocument/2006/relationships" r:id="rId1"/>
            </a:rPr>
            <a:t>Links and action buttons</a:t>
          </a:r>
          <a:endParaRPr lang="nl-BE" sz="2400" dirty="0"/>
        </a:p>
      </dgm:t>
    </dgm:pt>
    <dgm:pt modelId="{932F5BA3-372C-458A-9754-CE9D3927702A}" type="parTrans" cxnId="{3BDBF772-CE64-47A6-B159-539E8483ECBE}">
      <dgm:prSet/>
      <dgm:spPr/>
      <dgm:t>
        <a:bodyPr/>
        <a:lstStyle/>
        <a:p>
          <a:endParaRPr lang="nl-BE"/>
        </a:p>
      </dgm:t>
    </dgm:pt>
    <dgm:pt modelId="{FAC27863-05A9-4B36-BFF6-04E272013778}" type="sibTrans" cxnId="{3BDBF772-CE64-47A6-B159-539E8483ECBE}">
      <dgm:prSet/>
      <dgm:spPr/>
      <dgm:t>
        <a:bodyPr/>
        <a:lstStyle/>
        <a:p>
          <a:endParaRPr lang="nl-BE"/>
        </a:p>
      </dgm:t>
    </dgm:pt>
    <dgm:pt modelId="{764E2A62-5906-4355-9F41-7B7ACCA9D1EA}" type="pres">
      <dgm:prSet presAssocID="{89CDC0AA-DE69-487C-A469-53E14758566E}" presName="composite" presStyleCnt="0">
        <dgm:presLayoutVars>
          <dgm:chMax val="5"/>
          <dgm:dir/>
          <dgm:animLvl val="ctr"/>
          <dgm:resizeHandles val="exact"/>
        </dgm:presLayoutVars>
      </dgm:prSet>
      <dgm:spPr/>
    </dgm:pt>
    <dgm:pt modelId="{4AD51888-09BE-4785-AC77-E68CF0137FAA}" type="pres">
      <dgm:prSet presAssocID="{89CDC0AA-DE69-487C-A469-53E14758566E}" presName="cycle" presStyleCnt="0"/>
      <dgm:spPr/>
    </dgm:pt>
    <dgm:pt modelId="{EF226D85-718A-4B8F-9C10-651F5C6264F6}" type="pres">
      <dgm:prSet presAssocID="{89CDC0AA-DE69-487C-A469-53E14758566E}" presName="centerShape" presStyleCnt="0"/>
      <dgm:spPr/>
    </dgm:pt>
    <dgm:pt modelId="{9D3405A2-6029-4056-9082-D418B248C348}" type="pres">
      <dgm:prSet presAssocID="{89CDC0AA-DE69-487C-A469-53E14758566E}" presName="connSite" presStyleLbl="node1" presStyleIdx="0" presStyleCnt="4"/>
      <dgm:spPr/>
    </dgm:pt>
    <dgm:pt modelId="{0FDEEBB7-3AAC-42B0-8B81-B6D33C2101F5}" type="pres">
      <dgm:prSet presAssocID="{89CDC0AA-DE69-487C-A469-53E14758566E}" presName="visible" presStyleLbl="node1" presStyleIdx="0" presStyleCnt="4" custScaleX="70086" custScaleY="82723"/>
      <dgm:spPr>
        <a:blipFill>
          <a:blip xmlns:r="http://schemas.openxmlformats.org/officeDocument/2006/relationships"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dgm:spPr>
      <dgm:extLst>
        <a:ext uri="{E40237B7-FDA0-4F09-8148-C483321AD2D9}">
          <dgm14:cNvPr xmlns:dgm14="http://schemas.microsoft.com/office/drawing/2010/diagram" id="0" name="" descr="Kleermakerswerk silhouet"/>
        </a:ext>
      </dgm:extLst>
    </dgm:pt>
    <dgm:pt modelId="{E7B88CC0-3A10-4F28-9228-B58D7C9AC25C}" type="pres">
      <dgm:prSet presAssocID="{2BE8A2A7-8D74-4CE2-91AE-9BC24CFEE864}" presName="Name25" presStyleLbl="parChTrans1D1" presStyleIdx="0" presStyleCnt="3"/>
      <dgm:spPr/>
    </dgm:pt>
    <dgm:pt modelId="{F18B6281-7D84-48BF-B4B4-34EB1A3AFF02}" type="pres">
      <dgm:prSet presAssocID="{BAA2B049-EF48-4482-A081-95CC0447D4F7}" presName="node" presStyleCnt="0"/>
      <dgm:spPr/>
    </dgm:pt>
    <dgm:pt modelId="{9A708941-633D-4987-A2A0-62B58013872E}" type="pres">
      <dgm:prSet presAssocID="{BAA2B049-EF48-4482-A081-95CC0447D4F7}" presName="parentNode" presStyleLbl="node1" presStyleIdx="1" presStyleCnt="4" custScaleX="173404">
        <dgm:presLayoutVars>
          <dgm:chMax val="1"/>
          <dgm:bulletEnabled val="1"/>
        </dgm:presLayoutVars>
      </dgm:prSet>
      <dgm:spPr/>
    </dgm:pt>
    <dgm:pt modelId="{3C7E793F-6C49-431A-9680-5F9925EB758E}" type="pres">
      <dgm:prSet presAssocID="{BAA2B049-EF48-4482-A081-95CC0447D4F7}" presName="childNode" presStyleLbl="revTx" presStyleIdx="0" presStyleCnt="0">
        <dgm:presLayoutVars>
          <dgm:bulletEnabled val="1"/>
        </dgm:presLayoutVars>
      </dgm:prSet>
      <dgm:spPr/>
    </dgm:pt>
    <dgm:pt modelId="{E4DD9F12-A68D-4494-8792-40297B99F5EB}" type="pres">
      <dgm:prSet presAssocID="{90BF4449-4D1F-4998-ADF9-F6D8DAF74428}" presName="Name25" presStyleLbl="parChTrans1D1" presStyleIdx="1" presStyleCnt="3"/>
      <dgm:spPr/>
    </dgm:pt>
    <dgm:pt modelId="{09428B17-7C46-44F2-A8F8-94516AD3F47F}" type="pres">
      <dgm:prSet presAssocID="{DC198A8C-B55D-48DC-87C2-DB18CB2ACBD4}" presName="node" presStyleCnt="0"/>
      <dgm:spPr/>
    </dgm:pt>
    <dgm:pt modelId="{82243880-5D0F-447B-9575-62EC19D99A09}" type="pres">
      <dgm:prSet presAssocID="{DC198A8C-B55D-48DC-87C2-DB18CB2ACBD4}" presName="parentNode" presStyleLbl="node1" presStyleIdx="2" presStyleCnt="4" custScaleX="173404" custLinFactNeighborX="47881" custLinFactNeighborY="0">
        <dgm:presLayoutVars>
          <dgm:chMax val="1"/>
          <dgm:bulletEnabled val="1"/>
        </dgm:presLayoutVars>
      </dgm:prSet>
      <dgm:spPr/>
    </dgm:pt>
    <dgm:pt modelId="{A0ECD199-AAE3-4173-ADD8-0A41E4C76096}" type="pres">
      <dgm:prSet presAssocID="{DC198A8C-B55D-48DC-87C2-DB18CB2ACBD4}" presName="childNode" presStyleLbl="revTx" presStyleIdx="0" presStyleCnt="0">
        <dgm:presLayoutVars>
          <dgm:bulletEnabled val="1"/>
        </dgm:presLayoutVars>
      </dgm:prSet>
      <dgm:spPr/>
    </dgm:pt>
    <dgm:pt modelId="{118C62FC-CDDA-4DBA-B8A7-644A27B5778E}" type="pres">
      <dgm:prSet presAssocID="{932F5BA3-372C-458A-9754-CE9D3927702A}" presName="Name25" presStyleLbl="parChTrans1D1" presStyleIdx="2" presStyleCnt="3"/>
      <dgm:spPr/>
    </dgm:pt>
    <dgm:pt modelId="{CF22B8A6-372D-4C70-A9FD-E12B95715F9B}" type="pres">
      <dgm:prSet presAssocID="{397E3F82-3889-47C7-ADE2-A7EFC2DDD1D0}" presName="node" presStyleCnt="0"/>
      <dgm:spPr/>
    </dgm:pt>
    <dgm:pt modelId="{452EF661-0FD4-42A4-AC22-F980FFFD3301}" type="pres">
      <dgm:prSet presAssocID="{397E3F82-3889-47C7-ADE2-A7EFC2DDD1D0}" presName="parentNode" presStyleLbl="node1" presStyleIdx="3" presStyleCnt="4" custScaleX="173404">
        <dgm:presLayoutVars>
          <dgm:chMax val="1"/>
          <dgm:bulletEnabled val="1"/>
        </dgm:presLayoutVars>
      </dgm:prSet>
      <dgm:spPr/>
    </dgm:pt>
    <dgm:pt modelId="{0F89C362-F81D-40E6-BB91-D8C74D7D4882}" type="pres">
      <dgm:prSet presAssocID="{397E3F82-3889-47C7-ADE2-A7EFC2DDD1D0}" presName="childNode" presStyleLbl="revTx" presStyleIdx="0" presStyleCnt="0">
        <dgm:presLayoutVars>
          <dgm:bulletEnabled val="1"/>
        </dgm:presLayoutVars>
      </dgm:prSet>
      <dgm:spPr/>
    </dgm:pt>
  </dgm:ptLst>
  <dgm:cxnLst>
    <dgm:cxn modelId="{D1C29605-D31D-485B-AAD8-F17A4A50EB44}" type="presOf" srcId="{90BF4449-4D1F-4998-ADF9-F6D8DAF74428}" destId="{E4DD9F12-A68D-4494-8792-40297B99F5EB}" srcOrd="0" destOrd="0" presId="urn:microsoft.com/office/officeart/2005/8/layout/radial2"/>
    <dgm:cxn modelId="{A5F60F37-AA3B-48DC-848B-B8B1957FAB68}" type="presOf" srcId="{89CDC0AA-DE69-487C-A469-53E14758566E}" destId="{764E2A62-5906-4355-9F41-7B7ACCA9D1EA}" srcOrd="0" destOrd="0" presId="urn:microsoft.com/office/officeart/2005/8/layout/radial2"/>
    <dgm:cxn modelId="{05742139-02F6-421C-B8E4-86AC8142DB82}" type="presOf" srcId="{397E3F82-3889-47C7-ADE2-A7EFC2DDD1D0}" destId="{452EF661-0FD4-42A4-AC22-F980FFFD3301}" srcOrd="0" destOrd="0" presId="urn:microsoft.com/office/officeart/2005/8/layout/radial2"/>
    <dgm:cxn modelId="{3BDBF772-CE64-47A6-B159-539E8483ECBE}" srcId="{89CDC0AA-DE69-487C-A469-53E14758566E}" destId="{397E3F82-3889-47C7-ADE2-A7EFC2DDD1D0}" srcOrd="2" destOrd="0" parTransId="{932F5BA3-372C-458A-9754-CE9D3927702A}" sibTransId="{FAC27863-05A9-4B36-BFF6-04E272013778}"/>
    <dgm:cxn modelId="{273ED0B5-25EB-4FFC-9EC2-C041AC724619}" srcId="{89CDC0AA-DE69-487C-A469-53E14758566E}" destId="{BAA2B049-EF48-4482-A081-95CC0447D4F7}" srcOrd="0" destOrd="0" parTransId="{2BE8A2A7-8D74-4CE2-91AE-9BC24CFEE864}" sibTransId="{B8523A47-384A-4C5C-A3EA-69F2A69A5C3E}"/>
    <dgm:cxn modelId="{81140CC2-47B8-4959-AA9B-638FA48B22F1}" type="presOf" srcId="{2BE8A2A7-8D74-4CE2-91AE-9BC24CFEE864}" destId="{E7B88CC0-3A10-4F28-9228-B58D7C9AC25C}" srcOrd="0" destOrd="0" presId="urn:microsoft.com/office/officeart/2005/8/layout/radial2"/>
    <dgm:cxn modelId="{2635F5C2-78B6-4A9A-8561-5E0676754F41}" type="presOf" srcId="{BAA2B049-EF48-4482-A081-95CC0447D4F7}" destId="{9A708941-633D-4987-A2A0-62B58013872E}" srcOrd="0" destOrd="0" presId="urn:microsoft.com/office/officeart/2005/8/layout/radial2"/>
    <dgm:cxn modelId="{D78D0BD1-A8D0-474C-B477-3DA7E1698133}" type="presOf" srcId="{932F5BA3-372C-458A-9754-CE9D3927702A}" destId="{118C62FC-CDDA-4DBA-B8A7-644A27B5778E}" srcOrd="0" destOrd="0" presId="urn:microsoft.com/office/officeart/2005/8/layout/radial2"/>
    <dgm:cxn modelId="{05206EDA-E26D-43D2-ADAE-3842ED981E75}" srcId="{89CDC0AA-DE69-487C-A469-53E14758566E}" destId="{DC198A8C-B55D-48DC-87C2-DB18CB2ACBD4}" srcOrd="1" destOrd="0" parTransId="{90BF4449-4D1F-4998-ADF9-F6D8DAF74428}" sibTransId="{18B326FC-512C-461F-BB7D-3582BEA81B84}"/>
    <dgm:cxn modelId="{468DC3EC-894B-4FF8-A83C-03A2B4F64502}" type="presOf" srcId="{DC198A8C-B55D-48DC-87C2-DB18CB2ACBD4}" destId="{82243880-5D0F-447B-9575-62EC19D99A09}" srcOrd="0" destOrd="0" presId="urn:microsoft.com/office/officeart/2005/8/layout/radial2"/>
    <dgm:cxn modelId="{4FA37ED0-4268-42EB-B40B-1D37607B7615}" type="presParOf" srcId="{764E2A62-5906-4355-9F41-7B7ACCA9D1EA}" destId="{4AD51888-09BE-4785-AC77-E68CF0137FAA}" srcOrd="0" destOrd="0" presId="urn:microsoft.com/office/officeart/2005/8/layout/radial2"/>
    <dgm:cxn modelId="{CFFBF919-CA9F-446E-A92E-84C913C4A73B}" type="presParOf" srcId="{4AD51888-09BE-4785-AC77-E68CF0137FAA}" destId="{EF226D85-718A-4B8F-9C10-651F5C6264F6}" srcOrd="0" destOrd="0" presId="urn:microsoft.com/office/officeart/2005/8/layout/radial2"/>
    <dgm:cxn modelId="{C3BFDF2D-2F5B-4214-BD77-FB9D8FC77E86}" type="presParOf" srcId="{EF226D85-718A-4B8F-9C10-651F5C6264F6}" destId="{9D3405A2-6029-4056-9082-D418B248C348}" srcOrd="0" destOrd="0" presId="urn:microsoft.com/office/officeart/2005/8/layout/radial2"/>
    <dgm:cxn modelId="{A7CD15EA-800F-4765-A4FA-39203E698F84}" type="presParOf" srcId="{EF226D85-718A-4B8F-9C10-651F5C6264F6}" destId="{0FDEEBB7-3AAC-42B0-8B81-B6D33C2101F5}" srcOrd="1" destOrd="0" presId="urn:microsoft.com/office/officeart/2005/8/layout/radial2"/>
    <dgm:cxn modelId="{2ADEF39B-A741-480D-AF2C-B7BF0B02E829}" type="presParOf" srcId="{4AD51888-09BE-4785-AC77-E68CF0137FAA}" destId="{E7B88CC0-3A10-4F28-9228-B58D7C9AC25C}" srcOrd="1" destOrd="0" presId="urn:microsoft.com/office/officeart/2005/8/layout/radial2"/>
    <dgm:cxn modelId="{E6B44951-8847-41F6-A830-D9AE2FCB15E9}" type="presParOf" srcId="{4AD51888-09BE-4785-AC77-E68CF0137FAA}" destId="{F18B6281-7D84-48BF-B4B4-34EB1A3AFF02}" srcOrd="2" destOrd="0" presId="urn:microsoft.com/office/officeart/2005/8/layout/radial2"/>
    <dgm:cxn modelId="{8ECA4B5D-D8AA-4CE5-81F7-27AB309C22E2}" type="presParOf" srcId="{F18B6281-7D84-48BF-B4B4-34EB1A3AFF02}" destId="{9A708941-633D-4987-A2A0-62B58013872E}" srcOrd="0" destOrd="0" presId="urn:microsoft.com/office/officeart/2005/8/layout/radial2"/>
    <dgm:cxn modelId="{10F20B9C-2FA8-4FF0-8C86-29EEAD4CB43E}" type="presParOf" srcId="{F18B6281-7D84-48BF-B4B4-34EB1A3AFF02}" destId="{3C7E793F-6C49-431A-9680-5F9925EB758E}" srcOrd="1" destOrd="0" presId="urn:microsoft.com/office/officeart/2005/8/layout/radial2"/>
    <dgm:cxn modelId="{1387E915-D12F-4B4C-A8A6-D037FADFF647}" type="presParOf" srcId="{4AD51888-09BE-4785-AC77-E68CF0137FAA}" destId="{E4DD9F12-A68D-4494-8792-40297B99F5EB}" srcOrd="3" destOrd="0" presId="urn:microsoft.com/office/officeart/2005/8/layout/radial2"/>
    <dgm:cxn modelId="{37CCE54A-F9CE-426B-A0AC-FBAD77FB29BF}" type="presParOf" srcId="{4AD51888-09BE-4785-AC77-E68CF0137FAA}" destId="{09428B17-7C46-44F2-A8F8-94516AD3F47F}" srcOrd="4" destOrd="0" presId="urn:microsoft.com/office/officeart/2005/8/layout/radial2"/>
    <dgm:cxn modelId="{0CE6C7D5-80F9-44E5-836E-F32ECD09126E}" type="presParOf" srcId="{09428B17-7C46-44F2-A8F8-94516AD3F47F}" destId="{82243880-5D0F-447B-9575-62EC19D99A09}" srcOrd="0" destOrd="0" presId="urn:microsoft.com/office/officeart/2005/8/layout/radial2"/>
    <dgm:cxn modelId="{0A505830-86FA-4739-ABDB-073398C36C17}" type="presParOf" srcId="{09428B17-7C46-44F2-A8F8-94516AD3F47F}" destId="{A0ECD199-AAE3-4173-ADD8-0A41E4C76096}" srcOrd="1" destOrd="0" presId="urn:microsoft.com/office/officeart/2005/8/layout/radial2"/>
    <dgm:cxn modelId="{02ABBE61-8FF4-44F1-AF71-5BD29F5DD6CD}" type="presParOf" srcId="{4AD51888-09BE-4785-AC77-E68CF0137FAA}" destId="{118C62FC-CDDA-4DBA-B8A7-644A27B5778E}" srcOrd="5" destOrd="0" presId="urn:microsoft.com/office/officeart/2005/8/layout/radial2"/>
    <dgm:cxn modelId="{CCE9590E-95FE-4917-95E6-1CAB731BE2EB}" type="presParOf" srcId="{4AD51888-09BE-4785-AC77-E68CF0137FAA}" destId="{CF22B8A6-372D-4C70-A9FD-E12B95715F9B}" srcOrd="6" destOrd="0" presId="urn:microsoft.com/office/officeart/2005/8/layout/radial2"/>
    <dgm:cxn modelId="{777C2EA9-6608-469D-9E55-FE3D24BBBB6C}" type="presParOf" srcId="{CF22B8A6-372D-4C70-A9FD-E12B95715F9B}" destId="{452EF661-0FD4-42A4-AC22-F980FFFD3301}" srcOrd="0" destOrd="0" presId="urn:microsoft.com/office/officeart/2005/8/layout/radial2"/>
    <dgm:cxn modelId="{2F971745-2906-433D-9F0F-D6E80AA50841}" type="presParOf" srcId="{CF22B8A6-372D-4C70-A9FD-E12B95715F9B}" destId="{0F89C362-F81D-40E6-BB91-D8C74D7D4882}" srcOrd="1" destOrd="0" presId="urn:microsoft.com/office/officeart/2005/8/layout/radial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9EB4351-C5BE-4BFE-9047-71178259F394}" type="doc">
      <dgm:prSet loTypeId="urn:microsoft.com/office/officeart/2005/8/layout/pList1" loCatId="list" qsTypeId="urn:microsoft.com/office/officeart/2005/8/quickstyle/simple1" qsCatId="simple" csTypeId="urn:microsoft.com/office/officeart/2005/8/colors/colorful1" csCatId="colorful" phldr="1"/>
      <dgm:spPr/>
      <dgm:t>
        <a:bodyPr/>
        <a:lstStyle/>
        <a:p>
          <a:endParaRPr lang="en-GB"/>
        </a:p>
      </dgm:t>
    </dgm:pt>
    <dgm:pt modelId="{3B683035-C9CD-4177-B2DD-DBC308ABE8A6}">
      <dgm:prSet/>
      <dgm:spPr/>
      <dgm:t>
        <a:bodyPr/>
        <a:lstStyle/>
        <a:p>
          <a:r>
            <a:rPr lang="en-GB"/>
            <a:t>Slide show view</a:t>
          </a:r>
        </a:p>
      </dgm:t>
    </dgm:pt>
    <dgm:pt modelId="{AEA8B281-7158-4C23-B47C-1E1C5415920C}" type="parTrans" cxnId="{C4B5683E-F44D-49F0-9110-691FF0043B7B}">
      <dgm:prSet/>
      <dgm:spPr/>
      <dgm:t>
        <a:bodyPr/>
        <a:lstStyle/>
        <a:p>
          <a:endParaRPr lang="en-GB"/>
        </a:p>
      </dgm:t>
    </dgm:pt>
    <dgm:pt modelId="{36EEB6A0-3B02-4823-9AC7-5728CF002709}" type="sibTrans" cxnId="{C4B5683E-F44D-49F0-9110-691FF0043B7B}">
      <dgm:prSet/>
      <dgm:spPr/>
      <dgm:t>
        <a:bodyPr/>
        <a:lstStyle/>
        <a:p>
          <a:endParaRPr lang="en-GB"/>
        </a:p>
      </dgm:t>
    </dgm:pt>
    <dgm:pt modelId="{F2FE7C20-2B2F-4494-B618-1B03A61AA4CF}">
      <dgm:prSet/>
      <dgm:spPr/>
      <dgm:t>
        <a:bodyPr/>
        <a:lstStyle/>
        <a:p>
          <a:r>
            <a:rPr lang="en-GB"/>
            <a:t>Presenter view use</a:t>
          </a:r>
        </a:p>
      </dgm:t>
    </dgm:pt>
    <dgm:pt modelId="{4F39AF8A-F070-4D92-A6C4-956057F74BDE}" type="parTrans" cxnId="{321B8B6B-B37D-4F56-82EA-99109CFBC76A}">
      <dgm:prSet/>
      <dgm:spPr/>
      <dgm:t>
        <a:bodyPr/>
        <a:lstStyle/>
        <a:p>
          <a:endParaRPr lang="en-GB"/>
        </a:p>
      </dgm:t>
    </dgm:pt>
    <dgm:pt modelId="{4E168111-CB9E-4D1F-82CD-358E3E6ABFA2}" type="sibTrans" cxnId="{321B8B6B-B37D-4F56-82EA-99109CFBC76A}">
      <dgm:prSet/>
      <dgm:spPr/>
      <dgm:t>
        <a:bodyPr/>
        <a:lstStyle/>
        <a:p>
          <a:endParaRPr lang="en-GB"/>
        </a:p>
      </dgm:t>
    </dgm:pt>
    <dgm:pt modelId="{E6CBEE23-1442-4B63-93FC-CEE49DEB2490}">
      <dgm:prSet/>
      <dgm:spPr/>
      <dgm:t>
        <a:bodyPr/>
        <a:lstStyle/>
        <a:p>
          <a:r>
            <a:rPr lang="en-GB"/>
            <a:t>Hiding slides</a:t>
          </a:r>
        </a:p>
      </dgm:t>
    </dgm:pt>
    <dgm:pt modelId="{261F74B9-AAAC-4891-8793-84BCBC478202}" type="parTrans" cxnId="{D346ACCF-C833-48D5-8512-270CADE194B0}">
      <dgm:prSet/>
      <dgm:spPr/>
      <dgm:t>
        <a:bodyPr/>
        <a:lstStyle/>
        <a:p>
          <a:endParaRPr lang="en-GB"/>
        </a:p>
      </dgm:t>
    </dgm:pt>
    <dgm:pt modelId="{24EE71A6-5CD8-41EF-8905-56E7B525342B}" type="sibTrans" cxnId="{D346ACCF-C833-48D5-8512-270CADE194B0}">
      <dgm:prSet/>
      <dgm:spPr/>
      <dgm:t>
        <a:bodyPr/>
        <a:lstStyle/>
        <a:p>
          <a:endParaRPr lang="en-GB"/>
        </a:p>
      </dgm:t>
    </dgm:pt>
    <dgm:pt modelId="{267CC2E6-3701-4DA3-810C-E077CA9D6212}">
      <dgm:prSet/>
      <dgm:spPr/>
      <dgm:t>
        <a:bodyPr/>
        <a:lstStyle/>
        <a:p>
          <a:r>
            <a:rPr lang="en-GB"/>
            <a:t>Custom shows</a:t>
          </a:r>
        </a:p>
      </dgm:t>
    </dgm:pt>
    <dgm:pt modelId="{5DEA454F-F999-4145-B4F8-9601696BEE41}" type="parTrans" cxnId="{C2278754-DB33-499D-A0BA-154DA73DE494}">
      <dgm:prSet/>
      <dgm:spPr/>
      <dgm:t>
        <a:bodyPr/>
        <a:lstStyle/>
        <a:p>
          <a:endParaRPr lang="en-GB"/>
        </a:p>
      </dgm:t>
    </dgm:pt>
    <dgm:pt modelId="{36B9F561-BFFE-4FB0-88A3-231BAE60788E}" type="sibTrans" cxnId="{C2278754-DB33-499D-A0BA-154DA73DE494}">
      <dgm:prSet/>
      <dgm:spPr/>
      <dgm:t>
        <a:bodyPr/>
        <a:lstStyle/>
        <a:p>
          <a:endParaRPr lang="en-GB"/>
        </a:p>
      </dgm:t>
    </dgm:pt>
    <dgm:pt modelId="{BE81CE4C-283B-4386-B267-5E7B05A5677A}">
      <dgm:prSet/>
      <dgm:spPr/>
      <dgm:t>
        <a:bodyPr/>
        <a:lstStyle/>
        <a:p>
          <a:r>
            <a:rPr lang="en-GB"/>
            <a:t>Printing the presentation</a:t>
          </a:r>
        </a:p>
      </dgm:t>
    </dgm:pt>
    <dgm:pt modelId="{12BA7390-3103-4277-ABF6-8356C2F330E0}" type="parTrans" cxnId="{B6ED091F-455B-442F-A1CC-9B2A68F5AE9F}">
      <dgm:prSet/>
      <dgm:spPr/>
      <dgm:t>
        <a:bodyPr/>
        <a:lstStyle/>
        <a:p>
          <a:endParaRPr lang="en-GB"/>
        </a:p>
      </dgm:t>
    </dgm:pt>
    <dgm:pt modelId="{5F6FD619-2324-4CA9-8D02-0F3E5B120C0F}" type="sibTrans" cxnId="{B6ED091F-455B-442F-A1CC-9B2A68F5AE9F}">
      <dgm:prSet/>
      <dgm:spPr/>
      <dgm:t>
        <a:bodyPr/>
        <a:lstStyle/>
        <a:p>
          <a:endParaRPr lang="en-GB"/>
        </a:p>
      </dgm:t>
    </dgm:pt>
    <dgm:pt modelId="{5184E8C4-E9B3-43AA-9389-09658C7A340D}">
      <dgm:prSet/>
      <dgm:spPr/>
      <dgm:t>
        <a:bodyPr/>
        <a:lstStyle/>
        <a:p>
          <a:r>
            <a:rPr lang="en-GB"/>
            <a:t>Export the presentation</a:t>
          </a:r>
        </a:p>
      </dgm:t>
    </dgm:pt>
    <dgm:pt modelId="{7010ECF7-8DEA-4691-80D3-3F8163F154D4}" type="parTrans" cxnId="{EC12D885-9C83-4DC4-B106-5CC1F8B0E90C}">
      <dgm:prSet/>
      <dgm:spPr/>
      <dgm:t>
        <a:bodyPr/>
        <a:lstStyle/>
        <a:p>
          <a:endParaRPr lang="en-GB"/>
        </a:p>
      </dgm:t>
    </dgm:pt>
    <dgm:pt modelId="{3FBBBF3A-E6A7-4C8D-BAC4-50DA6EB6BDDC}" type="sibTrans" cxnId="{EC12D885-9C83-4DC4-B106-5CC1F8B0E90C}">
      <dgm:prSet/>
      <dgm:spPr/>
      <dgm:t>
        <a:bodyPr/>
        <a:lstStyle/>
        <a:p>
          <a:endParaRPr lang="en-GB"/>
        </a:p>
      </dgm:t>
    </dgm:pt>
    <dgm:pt modelId="{25BCEECC-F8A6-485E-81F5-B97B278E64FB}">
      <dgm:prSet/>
      <dgm:spPr/>
      <dgm:t>
        <a:bodyPr/>
        <a:lstStyle/>
        <a:p>
          <a:r>
            <a:rPr lang="en-GB"/>
            <a:t>Notes</a:t>
          </a:r>
        </a:p>
      </dgm:t>
    </dgm:pt>
    <dgm:pt modelId="{C6A63ADC-717D-4A60-AC3A-27F0A8F45260}" type="parTrans" cxnId="{F616C3AE-7B8D-4EF3-AE69-CB78F60CBD28}">
      <dgm:prSet/>
      <dgm:spPr/>
      <dgm:t>
        <a:bodyPr/>
        <a:lstStyle/>
        <a:p>
          <a:endParaRPr lang="en-GB"/>
        </a:p>
      </dgm:t>
    </dgm:pt>
    <dgm:pt modelId="{10E0B8BE-A3C3-4D83-A9E9-CE4938470A69}" type="sibTrans" cxnId="{F616C3AE-7B8D-4EF3-AE69-CB78F60CBD28}">
      <dgm:prSet/>
      <dgm:spPr/>
      <dgm:t>
        <a:bodyPr/>
        <a:lstStyle/>
        <a:p>
          <a:endParaRPr lang="en-GB"/>
        </a:p>
      </dgm:t>
    </dgm:pt>
    <dgm:pt modelId="{12CBFAF0-F64F-4E6F-8E34-3B188E0AE435}" type="pres">
      <dgm:prSet presAssocID="{B9EB4351-C5BE-4BFE-9047-71178259F394}" presName="Name0" presStyleCnt="0">
        <dgm:presLayoutVars>
          <dgm:dir/>
          <dgm:resizeHandles val="exact"/>
        </dgm:presLayoutVars>
      </dgm:prSet>
      <dgm:spPr/>
    </dgm:pt>
    <dgm:pt modelId="{5B4128E3-CCFC-46DA-859A-DAB9768060A7}" type="pres">
      <dgm:prSet presAssocID="{3B683035-C9CD-4177-B2DD-DBC308ABE8A6}" presName="compNode" presStyleCnt="0"/>
      <dgm:spPr/>
    </dgm:pt>
    <dgm:pt modelId="{D9BB0048-01FB-4AF4-90DA-D4F9C558EF59}" type="pres">
      <dgm:prSet presAssocID="{3B683035-C9CD-4177-B2DD-DBC308ABE8A6}" presName="pictRect" presStyleLbl="node1" presStyleIdx="0" presStyleCnt="7"/>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4734" t="-15698" r="4734" b="-15698"/>
          </a:stretch>
        </a:blipFill>
      </dgm:spPr>
      <dgm:extLst>
        <a:ext uri="{E40237B7-FDA0-4F09-8148-C483321AD2D9}">
          <dgm14:cNvPr xmlns:dgm14="http://schemas.microsoft.com/office/drawing/2010/diagram" id="0" name="" descr="Projector screen with solid fill"/>
        </a:ext>
      </dgm:extLst>
    </dgm:pt>
    <dgm:pt modelId="{50891D52-4045-4D4A-B2D5-5FEE022DFE5C}" type="pres">
      <dgm:prSet presAssocID="{3B683035-C9CD-4177-B2DD-DBC308ABE8A6}" presName="textRect" presStyleLbl="revTx" presStyleIdx="0" presStyleCnt="7">
        <dgm:presLayoutVars>
          <dgm:bulletEnabled val="1"/>
        </dgm:presLayoutVars>
      </dgm:prSet>
      <dgm:spPr/>
    </dgm:pt>
    <dgm:pt modelId="{B6468DF8-8468-4B46-B7BB-91EE2F266E31}" type="pres">
      <dgm:prSet presAssocID="{36EEB6A0-3B02-4823-9AC7-5728CF002709}" presName="sibTrans" presStyleLbl="sibTrans2D1" presStyleIdx="0" presStyleCnt="0"/>
      <dgm:spPr/>
    </dgm:pt>
    <dgm:pt modelId="{099CEC38-D825-408A-AB72-D8A69C76871F}" type="pres">
      <dgm:prSet presAssocID="{F2FE7C20-2B2F-4494-B618-1B03A61AA4CF}" presName="compNode" presStyleCnt="0"/>
      <dgm:spPr/>
    </dgm:pt>
    <dgm:pt modelId="{FA24291A-B745-4437-B5E6-69A276221BCE}" type="pres">
      <dgm:prSet presAssocID="{F2FE7C20-2B2F-4494-B618-1B03A61AA4CF}" presName="pictRect" presStyleLbl="node1" presStyleIdx="1" presStyleCnt="7"/>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811" t="-1790" r="1811" b="-154210"/>
          </a:stretch>
        </a:blipFill>
      </dgm:spPr>
      <dgm:extLst>
        <a:ext uri="{E40237B7-FDA0-4F09-8148-C483321AD2D9}">
          <dgm14:cNvPr xmlns:dgm14="http://schemas.microsoft.com/office/drawing/2010/diagram" id="0" name="" descr="Woman holding sign"/>
        </a:ext>
      </dgm:extLst>
    </dgm:pt>
    <dgm:pt modelId="{DF2012AE-17EB-42D7-A1B9-205EAD383784}" type="pres">
      <dgm:prSet presAssocID="{F2FE7C20-2B2F-4494-B618-1B03A61AA4CF}" presName="textRect" presStyleLbl="revTx" presStyleIdx="1" presStyleCnt="7">
        <dgm:presLayoutVars>
          <dgm:bulletEnabled val="1"/>
        </dgm:presLayoutVars>
      </dgm:prSet>
      <dgm:spPr/>
    </dgm:pt>
    <dgm:pt modelId="{ED94D522-754A-43AC-BD6B-A07A6BB0B6A4}" type="pres">
      <dgm:prSet presAssocID="{4E168111-CB9E-4D1F-82CD-358E3E6ABFA2}" presName="sibTrans" presStyleLbl="sibTrans2D1" presStyleIdx="0" presStyleCnt="0"/>
      <dgm:spPr/>
    </dgm:pt>
    <dgm:pt modelId="{47D0E51D-4453-490F-B81F-7B3F9C3E893B}" type="pres">
      <dgm:prSet presAssocID="{E6CBEE23-1442-4B63-93FC-CEE49DEB2490}" presName="compNode" presStyleCnt="0"/>
      <dgm:spPr/>
    </dgm:pt>
    <dgm:pt modelId="{826BDFB7-386B-42E3-BDD5-FAB46D7F07D3}" type="pres">
      <dgm:prSet presAssocID="{E6CBEE23-1442-4B63-93FC-CEE49DEB2490}" presName="pictRect" presStyleLbl="node1" presStyleIdx="2" presStyleCnt="7"/>
      <dgm:spPr>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4734" t="-15698" r="4734" b="-15698"/>
          </a:stretch>
        </a:blipFill>
      </dgm:spPr>
      <dgm:extLst>
        <a:ext uri="{E40237B7-FDA0-4F09-8148-C483321AD2D9}">
          <dgm14:cNvPr xmlns:dgm14="http://schemas.microsoft.com/office/drawing/2010/diagram" id="0" name="" descr="Chameleon outline"/>
        </a:ext>
      </dgm:extLst>
    </dgm:pt>
    <dgm:pt modelId="{22189787-047F-4192-9C72-27CF5418F99F}" type="pres">
      <dgm:prSet presAssocID="{E6CBEE23-1442-4B63-93FC-CEE49DEB2490}" presName="textRect" presStyleLbl="revTx" presStyleIdx="2" presStyleCnt="7">
        <dgm:presLayoutVars>
          <dgm:bulletEnabled val="1"/>
        </dgm:presLayoutVars>
      </dgm:prSet>
      <dgm:spPr/>
    </dgm:pt>
    <dgm:pt modelId="{B0817864-111D-4894-8470-881F19A8B0E0}" type="pres">
      <dgm:prSet presAssocID="{24EE71A6-5CD8-41EF-8905-56E7B525342B}" presName="sibTrans" presStyleLbl="sibTrans2D1" presStyleIdx="0" presStyleCnt="0"/>
      <dgm:spPr/>
    </dgm:pt>
    <dgm:pt modelId="{9D154633-043C-4AA5-9216-B41238A58607}" type="pres">
      <dgm:prSet presAssocID="{267CC2E6-3701-4DA3-810C-E077CA9D6212}" presName="compNode" presStyleCnt="0"/>
      <dgm:spPr/>
    </dgm:pt>
    <dgm:pt modelId="{DF76D38A-2236-4741-9947-C096AEF16185}" type="pres">
      <dgm:prSet presAssocID="{267CC2E6-3701-4DA3-810C-E077CA9D6212}" presName="pictRect" presStyleLbl="node1" presStyleIdx="3" presStyleCnt="7"/>
      <dgm:spPr>
        <a:blipFill dpi="0"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4734" t="-10442" r="4734" b="-20954"/>
          </a:stretch>
        </a:blipFill>
      </dgm:spPr>
      <dgm:extLst>
        <a:ext uri="{E40237B7-FDA0-4F09-8148-C483321AD2D9}">
          <dgm14:cNvPr xmlns:dgm14="http://schemas.microsoft.com/office/drawing/2010/diagram" id="0" name="" descr="Conductor female outline"/>
        </a:ext>
      </dgm:extLst>
    </dgm:pt>
    <dgm:pt modelId="{DDB89ED8-88B2-4A91-9C1B-8263B3C7138A}" type="pres">
      <dgm:prSet presAssocID="{267CC2E6-3701-4DA3-810C-E077CA9D6212}" presName="textRect" presStyleLbl="revTx" presStyleIdx="3" presStyleCnt="7">
        <dgm:presLayoutVars>
          <dgm:bulletEnabled val="1"/>
        </dgm:presLayoutVars>
      </dgm:prSet>
      <dgm:spPr/>
    </dgm:pt>
    <dgm:pt modelId="{B3B7BBD1-0F33-4EF0-9BF2-FB968DB18D43}" type="pres">
      <dgm:prSet presAssocID="{36B9F561-BFFE-4FB0-88A3-231BAE60788E}" presName="sibTrans" presStyleLbl="sibTrans2D1" presStyleIdx="0" presStyleCnt="0"/>
      <dgm:spPr/>
    </dgm:pt>
    <dgm:pt modelId="{C487EBAC-7BC5-45D5-AA29-566F6F96873F}" type="pres">
      <dgm:prSet presAssocID="{BE81CE4C-283B-4386-B267-5E7B05A5677A}" presName="compNode" presStyleCnt="0"/>
      <dgm:spPr/>
    </dgm:pt>
    <dgm:pt modelId="{A5D264DC-DD69-4758-84AA-378B892CAC7F}" type="pres">
      <dgm:prSet presAssocID="{BE81CE4C-283B-4386-B267-5E7B05A5677A}" presName="pictRect" presStyleLbl="node1" presStyleIdx="4" presStyleCnt="7"/>
      <dgm:spPr>
        <a:blipFill dpi="0" rotWithShape="1">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4734" t="-15698" r="4734" b="-15698"/>
          </a:stretch>
        </a:blipFill>
      </dgm:spPr>
      <dgm:extLst>
        <a:ext uri="{E40237B7-FDA0-4F09-8148-C483321AD2D9}">
          <dgm14:cNvPr xmlns:dgm14="http://schemas.microsoft.com/office/drawing/2010/diagram" id="0" name="" descr="Photocopier outline"/>
        </a:ext>
      </dgm:extLst>
    </dgm:pt>
    <dgm:pt modelId="{58F49CD5-A8C5-4393-8C78-0BB0D32C88A0}" type="pres">
      <dgm:prSet presAssocID="{BE81CE4C-283B-4386-B267-5E7B05A5677A}" presName="textRect" presStyleLbl="revTx" presStyleIdx="4" presStyleCnt="7">
        <dgm:presLayoutVars>
          <dgm:bulletEnabled val="1"/>
        </dgm:presLayoutVars>
      </dgm:prSet>
      <dgm:spPr/>
    </dgm:pt>
    <dgm:pt modelId="{C63A3EF3-7BF7-40A9-AC48-7768EE937477}" type="pres">
      <dgm:prSet presAssocID="{5F6FD619-2324-4CA9-8D02-0F3E5B120C0F}" presName="sibTrans" presStyleLbl="sibTrans2D1" presStyleIdx="0" presStyleCnt="0"/>
      <dgm:spPr/>
    </dgm:pt>
    <dgm:pt modelId="{B7F097F8-9BB1-4BDC-8F0A-368A9C2DB84D}" type="pres">
      <dgm:prSet presAssocID="{5184E8C4-E9B3-43AA-9389-09658C7A340D}" presName="compNode" presStyleCnt="0"/>
      <dgm:spPr/>
    </dgm:pt>
    <dgm:pt modelId="{F47831BD-7B62-42FE-8E56-CFB7F8F58D63}" type="pres">
      <dgm:prSet presAssocID="{5184E8C4-E9B3-43AA-9389-09658C7A340D}" presName="pictRect" presStyleLbl="node1" presStyleIdx="5" presStyleCnt="7"/>
      <dgm:spPr>
        <a:blipFill dpi="0" rotWithShape="1">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l="2923" t="-10442" r="2923" b="-15698"/>
          </a:stretch>
        </a:blipFill>
      </dgm:spPr>
      <dgm:extLst>
        <a:ext uri="{E40237B7-FDA0-4F09-8148-C483321AD2D9}">
          <dgm14:cNvPr xmlns:dgm14="http://schemas.microsoft.com/office/drawing/2010/diagram" id="0" name="" descr="Arrow: Counter-clockwise curve outline"/>
        </a:ext>
      </dgm:extLst>
    </dgm:pt>
    <dgm:pt modelId="{9F8A4044-786A-4F86-8F81-00031856BE32}" type="pres">
      <dgm:prSet presAssocID="{5184E8C4-E9B3-43AA-9389-09658C7A340D}" presName="textRect" presStyleLbl="revTx" presStyleIdx="5" presStyleCnt="7">
        <dgm:presLayoutVars>
          <dgm:bulletEnabled val="1"/>
        </dgm:presLayoutVars>
      </dgm:prSet>
      <dgm:spPr/>
    </dgm:pt>
    <dgm:pt modelId="{5D06BBEE-9258-47B6-BC9C-90CD05B67F5B}" type="pres">
      <dgm:prSet presAssocID="{3FBBBF3A-E6A7-4C8D-BAC4-50DA6EB6BDDC}" presName="sibTrans" presStyleLbl="sibTrans2D1" presStyleIdx="0" presStyleCnt="0"/>
      <dgm:spPr/>
    </dgm:pt>
    <dgm:pt modelId="{03964EFC-5F77-44B5-9439-6AB2CEE56B0F}" type="pres">
      <dgm:prSet presAssocID="{25BCEECC-F8A6-485E-81F5-B97B278E64FB}" presName="compNode" presStyleCnt="0"/>
      <dgm:spPr/>
    </dgm:pt>
    <dgm:pt modelId="{0A08A9E9-413C-4A60-85BE-209FCFFF27E1}" type="pres">
      <dgm:prSet presAssocID="{25BCEECC-F8A6-485E-81F5-B97B278E64FB}" presName="pictRect" presStyleLbl="node1" presStyleIdx="6" presStyleCnt="7"/>
      <dgm:spPr>
        <a:blipFill dpi="0" rotWithShape="1">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l="8356" t="-10442" r="8356" b="-10442"/>
          </a:stretch>
        </a:blipFill>
      </dgm:spPr>
      <dgm:extLst>
        <a:ext uri="{E40237B7-FDA0-4F09-8148-C483321AD2D9}">
          <dgm14:cNvPr xmlns:dgm14="http://schemas.microsoft.com/office/drawing/2010/diagram" id="0" name="" descr="Clipboard outline"/>
        </a:ext>
      </dgm:extLst>
    </dgm:pt>
    <dgm:pt modelId="{83F72603-A81E-435C-B4CF-8FE67EAEA242}" type="pres">
      <dgm:prSet presAssocID="{25BCEECC-F8A6-485E-81F5-B97B278E64FB}" presName="textRect" presStyleLbl="revTx" presStyleIdx="6" presStyleCnt="7">
        <dgm:presLayoutVars>
          <dgm:bulletEnabled val="1"/>
        </dgm:presLayoutVars>
      </dgm:prSet>
      <dgm:spPr/>
    </dgm:pt>
  </dgm:ptLst>
  <dgm:cxnLst>
    <dgm:cxn modelId="{58E28004-A305-4C5B-9DDD-C889EA2542DE}" type="presOf" srcId="{4E168111-CB9E-4D1F-82CD-358E3E6ABFA2}" destId="{ED94D522-754A-43AC-BD6B-A07A6BB0B6A4}" srcOrd="0" destOrd="0" presId="urn:microsoft.com/office/officeart/2005/8/layout/pList1"/>
    <dgm:cxn modelId="{4093C408-169F-43CF-834C-A28F18D78E31}" type="presOf" srcId="{3FBBBF3A-E6A7-4C8D-BAC4-50DA6EB6BDDC}" destId="{5D06BBEE-9258-47B6-BC9C-90CD05B67F5B}" srcOrd="0" destOrd="0" presId="urn:microsoft.com/office/officeart/2005/8/layout/pList1"/>
    <dgm:cxn modelId="{B6ED091F-455B-442F-A1CC-9B2A68F5AE9F}" srcId="{B9EB4351-C5BE-4BFE-9047-71178259F394}" destId="{BE81CE4C-283B-4386-B267-5E7B05A5677A}" srcOrd="4" destOrd="0" parTransId="{12BA7390-3103-4277-ABF6-8356C2F330E0}" sibTransId="{5F6FD619-2324-4CA9-8D02-0F3E5B120C0F}"/>
    <dgm:cxn modelId="{C4B5683E-F44D-49F0-9110-691FF0043B7B}" srcId="{B9EB4351-C5BE-4BFE-9047-71178259F394}" destId="{3B683035-C9CD-4177-B2DD-DBC308ABE8A6}" srcOrd="0" destOrd="0" parTransId="{AEA8B281-7158-4C23-B47C-1E1C5415920C}" sibTransId="{36EEB6A0-3B02-4823-9AC7-5728CF002709}"/>
    <dgm:cxn modelId="{92262061-116C-4471-A133-B0F5EC2B1F3F}" type="presOf" srcId="{36B9F561-BFFE-4FB0-88A3-231BAE60788E}" destId="{B3B7BBD1-0F33-4EF0-9BF2-FB968DB18D43}" srcOrd="0" destOrd="0" presId="urn:microsoft.com/office/officeart/2005/8/layout/pList1"/>
    <dgm:cxn modelId="{AA7E1B62-FCA1-4F33-91C2-566C29329750}" type="presOf" srcId="{5F6FD619-2324-4CA9-8D02-0F3E5B120C0F}" destId="{C63A3EF3-7BF7-40A9-AC48-7768EE937477}" srcOrd="0" destOrd="0" presId="urn:microsoft.com/office/officeart/2005/8/layout/pList1"/>
    <dgm:cxn modelId="{806F5867-CD8B-4FF0-9F2D-86151E506615}" type="presOf" srcId="{E6CBEE23-1442-4B63-93FC-CEE49DEB2490}" destId="{22189787-047F-4192-9C72-27CF5418F99F}" srcOrd="0" destOrd="0" presId="urn:microsoft.com/office/officeart/2005/8/layout/pList1"/>
    <dgm:cxn modelId="{321B8B6B-B37D-4F56-82EA-99109CFBC76A}" srcId="{B9EB4351-C5BE-4BFE-9047-71178259F394}" destId="{F2FE7C20-2B2F-4494-B618-1B03A61AA4CF}" srcOrd="1" destOrd="0" parTransId="{4F39AF8A-F070-4D92-A6C4-956057F74BDE}" sibTransId="{4E168111-CB9E-4D1F-82CD-358E3E6ABFA2}"/>
    <dgm:cxn modelId="{7A629A4E-D5DC-47F9-B800-C0A2487238CE}" type="presOf" srcId="{BE81CE4C-283B-4386-B267-5E7B05A5677A}" destId="{58F49CD5-A8C5-4393-8C78-0BB0D32C88A0}" srcOrd="0" destOrd="0" presId="urn:microsoft.com/office/officeart/2005/8/layout/pList1"/>
    <dgm:cxn modelId="{C2278754-DB33-499D-A0BA-154DA73DE494}" srcId="{B9EB4351-C5BE-4BFE-9047-71178259F394}" destId="{267CC2E6-3701-4DA3-810C-E077CA9D6212}" srcOrd="3" destOrd="0" parTransId="{5DEA454F-F999-4145-B4F8-9601696BEE41}" sibTransId="{36B9F561-BFFE-4FB0-88A3-231BAE60788E}"/>
    <dgm:cxn modelId="{ED641659-EADE-4FF7-A41C-A0E1F16088DC}" type="presOf" srcId="{36EEB6A0-3B02-4823-9AC7-5728CF002709}" destId="{B6468DF8-8468-4B46-B7BB-91EE2F266E31}" srcOrd="0" destOrd="0" presId="urn:microsoft.com/office/officeart/2005/8/layout/pList1"/>
    <dgm:cxn modelId="{EC12D885-9C83-4DC4-B106-5CC1F8B0E90C}" srcId="{B9EB4351-C5BE-4BFE-9047-71178259F394}" destId="{5184E8C4-E9B3-43AA-9389-09658C7A340D}" srcOrd="5" destOrd="0" parTransId="{7010ECF7-8DEA-4691-80D3-3F8163F154D4}" sibTransId="{3FBBBF3A-E6A7-4C8D-BAC4-50DA6EB6BDDC}"/>
    <dgm:cxn modelId="{7988C9A0-8844-415E-B16B-4064CDB8EDE0}" type="presOf" srcId="{3B683035-C9CD-4177-B2DD-DBC308ABE8A6}" destId="{50891D52-4045-4D4A-B2D5-5FEE022DFE5C}" srcOrd="0" destOrd="0" presId="urn:microsoft.com/office/officeart/2005/8/layout/pList1"/>
    <dgm:cxn modelId="{F616C3AE-7B8D-4EF3-AE69-CB78F60CBD28}" srcId="{B9EB4351-C5BE-4BFE-9047-71178259F394}" destId="{25BCEECC-F8A6-485E-81F5-B97B278E64FB}" srcOrd="6" destOrd="0" parTransId="{C6A63ADC-717D-4A60-AC3A-27F0A8F45260}" sibTransId="{10E0B8BE-A3C3-4D83-A9E9-CE4938470A69}"/>
    <dgm:cxn modelId="{F6F62FB2-D421-48CE-AC2D-295F212DA3C5}" type="presOf" srcId="{5184E8C4-E9B3-43AA-9389-09658C7A340D}" destId="{9F8A4044-786A-4F86-8F81-00031856BE32}" srcOrd="0" destOrd="0" presId="urn:microsoft.com/office/officeart/2005/8/layout/pList1"/>
    <dgm:cxn modelId="{4169E8B5-C7B4-497C-981C-A3E4CF42A8B4}" type="presOf" srcId="{267CC2E6-3701-4DA3-810C-E077CA9D6212}" destId="{DDB89ED8-88B2-4A91-9C1B-8263B3C7138A}" srcOrd="0" destOrd="0" presId="urn:microsoft.com/office/officeart/2005/8/layout/pList1"/>
    <dgm:cxn modelId="{D346ACCF-C833-48D5-8512-270CADE194B0}" srcId="{B9EB4351-C5BE-4BFE-9047-71178259F394}" destId="{E6CBEE23-1442-4B63-93FC-CEE49DEB2490}" srcOrd="2" destOrd="0" parTransId="{261F74B9-AAAC-4891-8793-84BCBC478202}" sibTransId="{24EE71A6-5CD8-41EF-8905-56E7B525342B}"/>
    <dgm:cxn modelId="{A0C256DC-5CC1-4003-9D3F-34DE1A29FDBC}" type="presOf" srcId="{B9EB4351-C5BE-4BFE-9047-71178259F394}" destId="{12CBFAF0-F64F-4E6F-8E34-3B188E0AE435}" srcOrd="0" destOrd="0" presId="urn:microsoft.com/office/officeart/2005/8/layout/pList1"/>
    <dgm:cxn modelId="{392081E4-D617-4596-A3E0-8725289A0490}" type="presOf" srcId="{24EE71A6-5CD8-41EF-8905-56E7B525342B}" destId="{B0817864-111D-4894-8470-881F19A8B0E0}" srcOrd="0" destOrd="0" presId="urn:microsoft.com/office/officeart/2005/8/layout/pList1"/>
    <dgm:cxn modelId="{7A2603E8-C735-4D05-9E33-25D0F91D8858}" type="presOf" srcId="{F2FE7C20-2B2F-4494-B618-1B03A61AA4CF}" destId="{DF2012AE-17EB-42D7-A1B9-205EAD383784}" srcOrd="0" destOrd="0" presId="urn:microsoft.com/office/officeart/2005/8/layout/pList1"/>
    <dgm:cxn modelId="{55BE67EB-A47E-459B-B8D6-7ED71AE5C98C}" type="presOf" srcId="{25BCEECC-F8A6-485E-81F5-B97B278E64FB}" destId="{83F72603-A81E-435C-B4CF-8FE67EAEA242}" srcOrd="0" destOrd="0" presId="urn:microsoft.com/office/officeart/2005/8/layout/pList1"/>
    <dgm:cxn modelId="{80BFFBF3-1F81-40E5-882E-3BF30D08D204}" type="presParOf" srcId="{12CBFAF0-F64F-4E6F-8E34-3B188E0AE435}" destId="{5B4128E3-CCFC-46DA-859A-DAB9768060A7}" srcOrd="0" destOrd="0" presId="urn:microsoft.com/office/officeart/2005/8/layout/pList1"/>
    <dgm:cxn modelId="{C0227022-84CF-46DC-8ADE-062725263991}" type="presParOf" srcId="{5B4128E3-CCFC-46DA-859A-DAB9768060A7}" destId="{D9BB0048-01FB-4AF4-90DA-D4F9C558EF59}" srcOrd="0" destOrd="0" presId="urn:microsoft.com/office/officeart/2005/8/layout/pList1"/>
    <dgm:cxn modelId="{81034142-3CF3-4993-A303-B491141E16DB}" type="presParOf" srcId="{5B4128E3-CCFC-46DA-859A-DAB9768060A7}" destId="{50891D52-4045-4D4A-B2D5-5FEE022DFE5C}" srcOrd="1" destOrd="0" presId="urn:microsoft.com/office/officeart/2005/8/layout/pList1"/>
    <dgm:cxn modelId="{7223DF14-922A-4541-B5F3-90A6EB913F07}" type="presParOf" srcId="{12CBFAF0-F64F-4E6F-8E34-3B188E0AE435}" destId="{B6468DF8-8468-4B46-B7BB-91EE2F266E31}" srcOrd="1" destOrd="0" presId="urn:microsoft.com/office/officeart/2005/8/layout/pList1"/>
    <dgm:cxn modelId="{FF87E0D8-DC33-46CD-BCE7-91C4B48733B0}" type="presParOf" srcId="{12CBFAF0-F64F-4E6F-8E34-3B188E0AE435}" destId="{099CEC38-D825-408A-AB72-D8A69C76871F}" srcOrd="2" destOrd="0" presId="urn:microsoft.com/office/officeart/2005/8/layout/pList1"/>
    <dgm:cxn modelId="{103B33E4-52CF-4FCA-80D7-F8D1C2D7BE26}" type="presParOf" srcId="{099CEC38-D825-408A-AB72-D8A69C76871F}" destId="{FA24291A-B745-4437-B5E6-69A276221BCE}" srcOrd="0" destOrd="0" presId="urn:microsoft.com/office/officeart/2005/8/layout/pList1"/>
    <dgm:cxn modelId="{D1A574F8-2A57-44B6-8D58-A7BB25C038EF}" type="presParOf" srcId="{099CEC38-D825-408A-AB72-D8A69C76871F}" destId="{DF2012AE-17EB-42D7-A1B9-205EAD383784}" srcOrd="1" destOrd="0" presId="urn:microsoft.com/office/officeart/2005/8/layout/pList1"/>
    <dgm:cxn modelId="{4E07AF73-C8B6-4E7C-863D-F460859EB362}" type="presParOf" srcId="{12CBFAF0-F64F-4E6F-8E34-3B188E0AE435}" destId="{ED94D522-754A-43AC-BD6B-A07A6BB0B6A4}" srcOrd="3" destOrd="0" presId="urn:microsoft.com/office/officeart/2005/8/layout/pList1"/>
    <dgm:cxn modelId="{A40B6BE3-634D-4698-A17E-905FC19BBB9F}" type="presParOf" srcId="{12CBFAF0-F64F-4E6F-8E34-3B188E0AE435}" destId="{47D0E51D-4453-490F-B81F-7B3F9C3E893B}" srcOrd="4" destOrd="0" presId="urn:microsoft.com/office/officeart/2005/8/layout/pList1"/>
    <dgm:cxn modelId="{BC9EF040-9148-4DB7-A6AC-A68616645D61}" type="presParOf" srcId="{47D0E51D-4453-490F-B81F-7B3F9C3E893B}" destId="{826BDFB7-386B-42E3-BDD5-FAB46D7F07D3}" srcOrd="0" destOrd="0" presId="urn:microsoft.com/office/officeart/2005/8/layout/pList1"/>
    <dgm:cxn modelId="{9B8291B9-B51C-469C-99A9-E3EF10874DA9}" type="presParOf" srcId="{47D0E51D-4453-490F-B81F-7B3F9C3E893B}" destId="{22189787-047F-4192-9C72-27CF5418F99F}" srcOrd="1" destOrd="0" presId="urn:microsoft.com/office/officeart/2005/8/layout/pList1"/>
    <dgm:cxn modelId="{23714D4A-AE98-47F0-8B4D-D6E8BBD2270B}" type="presParOf" srcId="{12CBFAF0-F64F-4E6F-8E34-3B188E0AE435}" destId="{B0817864-111D-4894-8470-881F19A8B0E0}" srcOrd="5" destOrd="0" presId="urn:microsoft.com/office/officeart/2005/8/layout/pList1"/>
    <dgm:cxn modelId="{59FEA5BF-6892-4D79-842F-FDCFD1151492}" type="presParOf" srcId="{12CBFAF0-F64F-4E6F-8E34-3B188E0AE435}" destId="{9D154633-043C-4AA5-9216-B41238A58607}" srcOrd="6" destOrd="0" presId="urn:microsoft.com/office/officeart/2005/8/layout/pList1"/>
    <dgm:cxn modelId="{6D8C6536-2821-4457-971C-FEE380DEC46C}" type="presParOf" srcId="{9D154633-043C-4AA5-9216-B41238A58607}" destId="{DF76D38A-2236-4741-9947-C096AEF16185}" srcOrd="0" destOrd="0" presId="urn:microsoft.com/office/officeart/2005/8/layout/pList1"/>
    <dgm:cxn modelId="{50DB118C-A022-401E-B0C1-D053B7CFB9CE}" type="presParOf" srcId="{9D154633-043C-4AA5-9216-B41238A58607}" destId="{DDB89ED8-88B2-4A91-9C1B-8263B3C7138A}" srcOrd="1" destOrd="0" presId="urn:microsoft.com/office/officeart/2005/8/layout/pList1"/>
    <dgm:cxn modelId="{32C9D3A1-5D4F-43CC-BCDE-94B2086413CB}" type="presParOf" srcId="{12CBFAF0-F64F-4E6F-8E34-3B188E0AE435}" destId="{B3B7BBD1-0F33-4EF0-9BF2-FB968DB18D43}" srcOrd="7" destOrd="0" presId="urn:microsoft.com/office/officeart/2005/8/layout/pList1"/>
    <dgm:cxn modelId="{3EE8DEA0-58AD-4C21-BB55-4C9D615C8AE4}" type="presParOf" srcId="{12CBFAF0-F64F-4E6F-8E34-3B188E0AE435}" destId="{C487EBAC-7BC5-45D5-AA29-566F6F96873F}" srcOrd="8" destOrd="0" presId="urn:microsoft.com/office/officeart/2005/8/layout/pList1"/>
    <dgm:cxn modelId="{600BB632-14C7-48A8-8E41-02143FD0E58C}" type="presParOf" srcId="{C487EBAC-7BC5-45D5-AA29-566F6F96873F}" destId="{A5D264DC-DD69-4758-84AA-378B892CAC7F}" srcOrd="0" destOrd="0" presId="urn:microsoft.com/office/officeart/2005/8/layout/pList1"/>
    <dgm:cxn modelId="{1B18D2C5-858B-4308-9E85-AB6DAA57CAA9}" type="presParOf" srcId="{C487EBAC-7BC5-45D5-AA29-566F6F96873F}" destId="{58F49CD5-A8C5-4393-8C78-0BB0D32C88A0}" srcOrd="1" destOrd="0" presId="urn:microsoft.com/office/officeart/2005/8/layout/pList1"/>
    <dgm:cxn modelId="{B8C615DC-7B5F-4B11-968A-2A9EF116B5B6}" type="presParOf" srcId="{12CBFAF0-F64F-4E6F-8E34-3B188E0AE435}" destId="{C63A3EF3-7BF7-40A9-AC48-7768EE937477}" srcOrd="9" destOrd="0" presId="urn:microsoft.com/office/officeart/2005/8/layout/pList1"/>
    <dgm:cxn modelId="{47722B49-ACDA-4305-8F92-7001B5B8FFEE}" type="presParOf" srcId="{12CBFAF0-F64F-4E6F-8E34-3B188E0AE435}" destId="{B7F097F8-9BB1-4BDC-8F0A-368A9C2DB84D}" srcOrd="10" destOrd="0" presId="urn:microsoft.com/office/officeart/2005/8/layout/pList1"/>
    <dgm:cxn modelId="{4896E42F-D22F-4CF4-8C10-7EF961699006}" type="presParOf" srcId="{B7F097F8-9BB1-4BDC-8F0A-368A9C2DB84D}" destId="{F47831BD-7B62-42FE-8E56-CFB7F8F58D63}" srcOrd="0" destOrd="0" presId="urn:microsoft.com/office/officeart/2005/8/layout/pList1"/>
    <dgm:cxn modelId="{F425D628-D959-4102-9EB6-169FA566DE3F}" type="presParOf" srcId="{B7F097F8-9BB1-4BDC-8F0A-368A9C2DB84D}" destId="{9F8A4044-786A-4F86-8F81-00031856BE32}" srcOrd="1" destOrd="0" presId="urn:microsoft.com/office/officeart/2005/8/layout/pList1"/>
    <dgm:cxn modelId="{2BD09AA1-6F32-4E65-B017-B8DC39557157}" type="presParOf" srcId="{12CBFAF0-F64F-4E6F-8E34-3B188E0AE435}" destId="{5D06BBEE-9258-47B6-BC9C-90CD05B67F5B}" srcOrd="11" destOrd="0" presId="urn:microsoft.com/office/officeart/2005/8/layout/pList1"/>
    <dgm:cxn modelId="{97A0A92B-4068-43A0-800A-C36762831458}" type="presParOf" srcId="{12CBFAF0-F64F-4E6F-8E34-3B188E0AE435}" destId="{03964EFC-5F77-44B5-9439-6AB2CEE56B0F}" srcOrd="12" destOrd="0" presId="urn:microsoft.com/office/officeart/2005/8/layout/pList1"/>
    <dgm:cxn modelId="{BD8430DF-D155-417D-BCC3-1214BBCE3832}" type="presParOf" srcId="{03964EFC-5F77-44B5-9439-6AB2CEE56B0F}" destId="{0A08A9E9-413C-4A60-85BE-209FCFFF27E1}" srcOrd="0" destOrd="0" presId="urn:microsoft.com/office/officeart/2005/8/layout/pList1"/>
    <dgm:cxn modelId="{A42EA5D4-15FB-4272-880F-CA40436D3810}" type="presParOf" srcId="{03964EFC-5F77-44B5-9439-6AB2CEE56B0F}" destId="{83F72603-A81E-435C-B4CF-8FE67EAEA242}"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F9948BC-C795-45E3-80FB-B7F4DAFA5D91}" type="doc">
      <dgm:prSet loTypeId="urn:microsoft.com/office/officeart/2005/8/layout/default" loCatId="list" qsTypeId="urn:microsoft.com/office/officeart/2005/8/quickstyle/simple1" qsCatId="simple" csTypeId="urn:microsoft.com/office/officeart/2005/8/colors/colorful1" csCatId="colorful"/>
      <dgm:spPr/>
      <dgm:t>
        <a:bodyPr/>
        <a:lstStyle/>
        <a:p>
          <a:endParaRPr lang="en-GB"/>
        </a:p>
      </dgm:t>
    </dgm:pt>
    <dgm:pt modelId="{6BB51391-654A-47AD-9A3D-70AF67A81BA4}">
      <dgm:prSet/>
      <dgm:spPr/>
      <dgm:t>
        <a:bodyPr/>
        <a:lstStyle/>
        <a:p>
          <a:r>
            <a:rPr lang="en-US"/>
            <a:t>Straight lines and perfect circles</a:t>
          </a:r>
          <a:endParaRPr lang="en-GB"/>
        </a:p>
      </dgm:t>
    </dgm:pt>
    <dgm:pt modelId="{0D103160-17CF-4F3B-A156-A6E0B5BAF8D3}" type="parTrans" cxnId="{D363ABBF-410C-4DA8-9450-6C38777850B2}">
      <dgm:prSet/>
      <dgm:spPr/>
      <dgm:t>
        <a:bodyPr/>
        <a:lstStyle/>
        <a:p>
          <a:endParaRPr lang="en-GB"/>
        </a:p>
      </dgm:t>
    </dgm:pt>
    <dgm:pt modelId="{DEC72BF6-AB4D-4E98-8215-B979EF48E67E}" type="sibTrans" cxnId="{D363ABBF-410C-4DA8-9450-6C38777850B2}">
      <dgm:prSet/>
      <dgm:spPr/>
      <dgm:t>
        <a:bodyPr/>
        <a:lstStyle/>
        <a:p>
          <a:endParaRPr lang="en-GB"/>
        </a:p>
      </dgm:t>
    </dgm:pt>
    <dgm:pt modelId="{98FFBE35-A4A8-4D06-91E5-9903F598384A}">
      <dgm:prSet/>
      <dgm:spPr/>
      <dgm:t>
        <a:bodyPr/>
        <a:lstStyle/>
        <a:p>
          <a:r>
            <a:rPr lang="en-US"/>
            <a:t>Collapse in outline</a:t>
          </a:r>
          <a:endParaRPr lang="en-GB"/>
        </a:p>
      </dgm:t>
    </dgm:pt>
    <dgm:pt modelId="{31C98AE1-B9F7-469F-9C41-1048C380DDF0}" type="parTrans" cxnId="{2113C0F2-76E1-4DAF-A845-047C846001E8}">
      <dgm:prSet/>
      <dgm:spPr/>
      <dgm:t>
        <a:bodyPr/>
        <a:lstStyle/>
        <a:p>
          <a:endParaRPr lang="en-GB"/>
        </a:p>
      </dgm:t>
    </dgm:pt>
    <dgm:pt modelId="{E2F5CD6D-E0D2-4260-8A39-C9A3C938281D}" type="sibTrans" cxnId="{2113C0F2-76E1-4DAF-A845-047C846001E8}">
      <dgm:prSet/>
      <dgm:spPr/>
      <dgm:t>
        <a:bodyPr/>
        <a:lstStyle/>
        <a:p>
          <a:endParaRPr lang="en-GB"/>
        </a:p>
      </dgm:t>
    </dgm:pt>
    <dgm:pt modelId="{375D59C2-5E2C-4A76-837D-F2FBCFCA0D90}">
      <dgm:prSet/>
      <dgm:spPr/>
      <dgm:t>
        <a:bodyPr/>
        <a:lstStyle/>
        <a:p>
          <a:r>
            <a:rPr lang="en-US"/>
            <a:t>Convert into smart art</a:t>
          </a:r>
          <a:endParaRPr lang="en-GB"/>
        </a:p>
      </dgm:t>
    </dgm:pt>
    <dgm:pt modelId="{823322C9-222C-4A41-AC6A-DD3D96DF1DAD}" type="parTrans" cxnId="{DEDCD5F8-DA8E-4A0F-8C2E-2A1979689DE2}">
      <dgm:prSet/>
      <dgm:spPr/>
      <dgm:t>
        <a:bodyPr/>
        <a:lstStyle/>
        <a:p>
          <a:endParaRPr lang="en-GB"/>
        </a:p>
      </dgm:t>
    </dgm:pt>
    <dgm:pt modelId="{3D9E35C8-684F-403C-922D-6DFCF0C277DA}" type="sibTrans" cxnId="{DEDCD5F8-DA8E-4A0F-8C2E-2A1979689DE2}">
      <dgm:prSet/>
      <dgm:spPr/>
      <dgm:t>
        <a:bodyPr/>
        <a:lstStyle/>
        <a:p>
          <a:endParaRPr lang="en-GB"/>
        </a:p>
      </dgm:t>
    </dgm:pt>
    <dgm:pt modelId="{F5187897-2B5C-447E-9FA0-BBE114BFD67B}">
      <dgm:prSet/>
      <dgm:spPr/>
      <dgm:t>
        <a:bodyPr/>
        <a:lstStyle/>
        <a:p>
          <a:r>
            <a:rPr lang="en-US"/>
            <a:t>Resize images</a:t>
          </a:r>
          <a:endParaRPr lang="en-GB"/>
        </a:p>
      </dgm:t>
    </dgm:pt>
    <dgm:pt modelId="{44B57A4B-FFD1-417F-AA2D-4B7C9D458FC6}" type="parTrans" cxnId="{2EBAC5BA-C5E8-464B-A523-1EB7885E68C1}">
      <dgm:prSet/>
      <dgm:spPr/>
      <dgm:t>
        <a:bodyPr/>
        <a:lstStyle/>
        <a:p>
          <a:endParaRPr lang="en-GB"/>
        </a:p>
      </dgm:t>
    </dgm:pt>
    <dgm:pt modelId="{D199E6CF-601B-4CED-ABCA-21DBDA507BA7}" type="sibTrans" cxnId="{2EBAC5BA-C5E8-464B-A523-1EB7885E68C1}">
      <dgm:prSet/>
      <dgm:spPr/>
      <dgm:t>
        <a:bodyPr/>
        <a:lstStyle/>
        <a:p>
          <a:endParaRPr lang="en-GB"/>
        </a:p>
      </dgm:t>
    </dgm:pt>
    <dgm:pt modelId="{AE4F38F0-CBE9-477E-9C5F-A184D29B4D21}">
      <dgm:prSet/>
      <dgm:spPr/>
      <dgm:t>
        <a:bodyPr/>
        <a:lstStyle/>
        <a:p>
          <a:r>
            <a:rPr lang="en-US"/>
            <a:t>Shft click views</a:t>
          </a:r>
          <a:endParaRPr lang="en-GB"/>
        </a:p>
      </dgm:t>
    </dgm:pt>
    <dgm:pt modelId="{B7E2BE5A-829A-4F6B-B024-78B47AF1D45C}" type="parTrans" cxnId="{1064DA6C-853D-41A6-9036-1CA967A1AA28}">
      <dgm:prSet/>
      <dgm:spPr/>
      <dgm:t>
        <a:bodyPr/>
        <a:lstStyle/>
        <a:p>
          <a:endParaRPr lang="en-GB"/>
        </a:p>
      </dgm:t>
    </dgm:pt>
    <dgm:pt modelId="{7E321BD7-F826-4B30-A093-61A26D5DE877}" type="sibTrans" cxnId="{1064DA6C-853D-41A6-9036-1CA967A1AA28}">
      <dgm:prSet/>
      <dgm:spPr/>
      <dgm:t>
        <a:bodyPr/>
        <a:lstStyle/>
        <a:p>
          <a:endParaRPr lang="en-GB"/>
        </a:p>
      </dgm:t>
    </dgm:pt>
    <dgm:pt modelId="{A1CF662C-E698-40D0-AB6B-1A23BEE9B8F7}">
      <dgm:prSet/>
      <dgm:spPr/>
      <dgm:t>
        <a:bodyPr/>
        <a:lstStyle/>
        <a:p>
          <a:r>
            <a:rPr lang="en-US"/>
            <a:t>During presentation:</a:t>
          </a:r>
          <a:endParaRPr lang="en-GB"/>
        </a:p>
      </dgm:t>
    </dgm:pt>
    <dgm:pt modelId="{41B7E035-A6EC-4A54-ACFF-C3A203E09EE7}" type="parTrans" cxnId="{5816EC58-6BC0-4956-B65C-88872C68CC61}">
      <dgm:prSet/>
      <dgm:spPr/>
      <dgm:t>
        <a:bodyPr/>
        <a:lstStyle/>
        <a:p>
          <a:endParaRPr lang="en-GB"/>
        </a:p>
      </dgm:t>
    </dgm:pt>
    <dgm:pt modelId="{CE99A1E5-A213-4D0B-9D9B-D10FF4B9CE0B}" type="sibTrans" cxnId="{5816EC58-6BC0-4956-B65C-88872C68CC61}">
      <dgm:prSet/>
      <dgm:spPr/>
      <dgm:t>
        <a:bodyPr/>
        <a:lstStyle/>
        <a:p>
          <a:endParaRPr lang="en-GB"/>
        </a:p>
      </dgm:t>
    </dgm:pt>
    <dgm:pt modelId="{BFB64C51-B438-475C-9F1C-7CDB23E9A2F6}">
      <dgm:prSet/>
      <dgm:spPr/>
      <dgm:t>
        <a:bodyPr/>
        <a:lstStyle/>
        <a:p>
          <a:r>
            <a:rPr lang="en-US"/>
            <a:t>B or W </a:t>
          </a:r>
          <a:endParaRPr lang="en-GB"/>
        </a:p>
      </dgm:t>
    </dgm:pt>
    <dgm:pt modelId="{8FB8AF2B-24AE-4A3E-B184-4777C9793468}" type="parTrans" cxnId="{91EE9702-1E74-421C-AAF4-AA3A9E0C0414}">
      <dgm:prSet/>
      <dgm:spPr/>
      <dgm:t>
        <a:bodyPr/>
        <a:lstStyle/>
        <a:p>
          <a:endParaRPr lang="en-GB"/>
        </a:p>
      </dgm:t>
    </dgm:pt>
    <dgm:pt modelId="{C2B471E8-CEC9-45D9-BF79-71AF8BA4DAD3}" type="sibTrans" cxnId="{91EE9702-1E74-421C-AAF4-AA3A9E0C0414}">
      <dgm:prSet/>
      <dgm:spPr/>
      <dgm:t>
        <a:bodyPr/>
        <a:lstStyle/>
        <a:p>
          <a:endParaRPr lang="en-GB"/>
        </a:p>
      </dgm:t>
    </dgm:pt>
    <dgm:pt modelId="{7633B5C8-9DE9-480E-A3E1-811FA50AAE21}">
      <dgm:prSet/>
      <dgm:spPr/>
      <dgm:t>
        <a:bodyPr/>
        <a:lstStyle/>
        <a:p>
          <a:r>
            <a:rPr lang="en-US"/>
            <a:t>- key </a:t>
          </a:r>
          <a:endParaRPr lang="en-GB"/>
        </a:p>
      </dgm:t>
    </dgm:pt>
    <dgm:pt modelId="{63E70A9B-8A66-4475-9463-8498428439B3}" type="parTrans" cxnId="{563283C5-D115-4EF4-8A02-55AAC1A26F58}">
      <dgm:prSet/>
      <dgm:spPr/>
      <dgm:t>
        <a:bodyPr/>
        <a:lstStyle/>
        <a:p>
          <a:endParaRPr lang="en-GB"/>
        </a:p>
      </dgm:t>
    </dgm:pt>
    <dgm:pt modelId="{7ABC174B-C1C8-47C4-BA0D-E5ADE19B8144}" type="sibTrans" cxnId="{563283C5-D115-4EF4-8A02-55AAC1A26F58}">
      <dgm:prSet/>
      <dgm:spPr/>
      <dgm:t>
        <a:bodyPr/>
        <a:lstStyle/>
        <a:p>
          <a:endParaRPr lang="en-GB"/>
        </a:p>
      </dgm:t>
    </dgm:pt>
    <dgm:pt modelId="{682FF398-4D00-4AC2-8D03-3008FC452F2B}">
      <dgm:prSet/>
      <dgm:spPr/>
      <dgm:t>
        <a:bodyPr/>
        <a:lstStyle/>
        <a:p>
          <a:r>
            <a:rPr lang="en-US"/>
            <a:t>Slide number + enter</a:t>
          </a:r>
          <a:endParaRPr lang="en-GB"/>
        </a:p>
      </dgm:t>
    </dgm:pt>
    <dgm:pt modelId="{75F39551-7E5B-4FE7-A159-86E7DCAFCE77}" type="parTrans" cxnId="{B0176952-9BBB-4D25-9576-D98CE5D682CA}">
      <dgm:prSet/>
      <dgm:spPr/>
      <dgm:t>
        <a:bodyPr/>
        <a:lstStyle/>
        <a:p>
          <a:endParaRPr lang="en-GB"/>
        </a:p>
      </dgm:t>
    </dgm:pt>
    <dgm:pt modelId="{4475CFAF-260A-444D-BC7A-70F6EEA0433F}" type="sibTrans" cxnId="{B0176952-9BBB-4D25-9576-D98CE5D682CA}">
      <dgm:prSet/>
      <dgm:spPr/>
      <dgm:t>
        <a:bodyPr/>
        <a:lstStyle/>
        <a:p>
          <a:endParaRPr lang="en-GB"/>
        </a:p>
      </dgm:t>
    </dgm:pt>
    <dgm:pt modelId="{1317029E-7522-4AEB-8BDB-588775A2F17F}" type="pres">
      <dgm:prSet presAssocID="{EF9948BC-C795-45E3-80FB-B7F4DAFA5D91}" presName="diagram" presStyleCnt="0">
        <dgm:presLayoutVars>
          <dgm:dir/>
          <dgm:resizeHandles val="exact"/>
        </dgm:presLayoutVars>
      </dgm:prSet>
      <dgm:spPr/>
    </dgm:pt>
    <dgm:pt modelId="{9C9607D5-93CE-4CBF-A0FD-77C98401EE39}" type="pres">
      <dgm:prSet presAssocID="{6BB51391-654A-47AD-9A3D-70AF67A81BA4}" presName="node" presStyleLbl="node1" presStyleIdx="0" presStyleCnt="6">
        <dgm:presLayoutVars>
          <dgm:bulletEnabled val="1"/>
        </dgm:presLayoutVars>
      </dgm:prSet>
      <dgm:spPr/>
    </dgm:pt>
    <dgm:pt modelId="{9FDFD922-3F26-4EA5-8A0B-B2498CD52060}" type="pres">
      <dgm:prSet presAssocID="{DEC72BF6-AB4D-4E98-8215-B979EF48E67E}" presName="sibTrans" presStyleCnt="0"/>
      <dgm:spPr/>
    </dgm:pt>
    <dgm:pt modelId="{04738C22-1819-4C81-BE1A-76A756C13416}" type="pres">
      <dgm:prSet presAssocID="{98FFBE35-A4A8-4D06-91E5-9903F598384A}" presName="node" presStyleLbl="node1" presStyleIdx="1" presStyleCnt="6">
        <dgm:presLayoutVars>
          <dgm:bulletEnabled val="1"/>
        </dgm:presLayoutVars>
      </dgm:prSet>
      <dgm:spPr/>
    </dgm:pt>
    <dgm:pt modelId="{3479A3CA-48F1-44D6-A988-4E8A74FB9754}" type="pres">
      <dgm:prSet presAssocID="{E2F5CD6D-E0D2-4260-8A39-C9A3C938281D}" presName="sibTrans" presStyleCnt="0"/>
      <dgm:spPr/>
    </dgm:pt>
    <dgm:pt modelId="{947CC8F4-6351-45C6-A971-BCBDD8A33921}" type="pres">
      <dgm:prSet presAssocID="{375D59C2-5E2C-4A76-837D-F2FBCFCA0D90}" presName="node" presStyleLbl="node1" presStyleIdx="2" presStyleCnt="6">
        <dgm:presLayoutVars>
          <dgm:bulletEnabled val="1"/>
        </dgm:presLayoutVars>
      </dgm:prSet>
      <dgm:spPr/>
    </dgm:pt>
    <dgm:pt modelId="{33E475EB-DDDC-450E-B3AA-084F8B46737C}" type="pres">
      <dgm:prSet presAssocID="{3D9E35C8-684F-403C-922D-6DFCF0C277DA}" presName="sibTrans" presStyleCnt="0"/>
      <dgm:spPr/>
    </dgm:pt>
    <dgm:pt modelId="{7E256610-C828-463C-B9C3-21EC821D67C7}" type="pres">
      <dgm:prSet presAssocID="{F5187897-2B5C-447E-9FA0-BBE114BFD67B}" presName="node" presStyleLbl="node1" presStyleIdx="3" presStyleCnt="6">
        <dgm:presLayoutVars>
          <dgm:bulletEnabled val="1"/>
        </dgm:presLayoutVars>
      </dgm:prSet>
      <dgm:spPr/>
    </dgm:pt>
    <dgm:pt modelId="{BE6B7ECD-3A3C-4BE9-BA98-66D77AD92EE7}" type="pres">
      <dgm:prSet presAssocID="{D199E6CF-601B-4CED-ABCA-21DBDA507BA7}" presName="sibTrans" presStyleCnt="0"/>
      <dgm:spPr/>
    </dgm:pt>
    <dgm:pt modelId="{0C8D541D-6F73-4B22-AF1A-F110A738E9FF}" type="pres">
      <dgm:prSet presAssocID="{AE4F38F0-CBE9-477E-9C5F-A184D29B4D21}" presName="node" presStyleLbl="node1" presStyleIdx="4" presStyleCnt="6">
        <dgm:presLayoutVars>
          <dgm:bulletEnabled val="1"/>
        </dgm:presLayoutVars>
      </dgm:prSet>
      <dgm:spPr/>
    </dgm:pt>
    <dgm:pt modelId="{C709F07B-E72E-4D43-9E15-B0A84716CDDF}" type="pres">
      <dgm:prSet presAssocID="{7E321BD7-F826-4B30-A093-61A26D5DE877}" presName="sibTrans" presStyleCnt="0"/>
      <dgm:spPr/>
    </dgm:pt>
    <dgm:pt modelId="{963C4A53-D41C-4DC5-A737-8B544BED79F6}" type="pres">
      <dgm:prSet presAssocID="{A1CF662C-E698-40D0-AB6B-1A23BEE9B8F7}" presName="node" presStyleLbl="node1" presStyleIdx="5" presStyleCnt="6">
        <dgm:presLayoutVars>
          <dgm:bulletEnabled val="1"/>
        </dgm:presLayoutVars>
      </dgm:prSet>
      <dgm:spPr/>
    </dgm:pt>
  </dgm:ptLst>
  <dgm:cxnLst>
    <dgm:cxn modelId="{91EE9702-1E74-421C-AAF4-AA3A9E0C0414}" srcId="{A1CF662C-E698-40D0-AB6B-1A23BEE9B8F7}" destId="{BFB64C51-B438-475C-9F1C-7CDB23E9A2F6}" srcOrd="0" destOrd="0" parTransId="{8FB8AF2B-24AE-4A3E-B184-4777C9793468}" sibTransId="{C2B471E8-CEC9-45D9-BF79-71AF8BA4DAD3}"/>
    <dgm:cxn modelId="{F0023614-3D36-4801-8F41-3FA57FF2B187}" type="presOf" srcId="{AE4F38F0-CBE9-477E-9C5F-A184D29B4D21}" destId="{0C8D541D-6F73-4B22-AF1A-F110A738E9FF}" srcOrd="0" destOrd="0" presId="urn:microsoft.com/office/officeart/2005/8/layout/default"/>
    <dgm:cxn modelId="{D85EC522-3C12-4CD2-8D80-B4DF84D624A2}" type="presOf" srcId="{6BB51391-654A-47AD-9A3D-70AF67A81BA4}" destId="{9C9607D5-93CE-4CBF-A0FD-77C98401EE39}" srcOrd="0" destOrd="0" presId="urn:microsoft.com/office/officeart/2005/8/layout/default"/>
    <dgm:cxn modelId="{22B1B92E-5D96-4539-AAA4-5EC616D64511}" type="presOf" srcId="{A1CF662C-E698-40D0-AB6B-1A23BEE9B8F7}" destId="{963C4A53-D41C-4DC5-A737-8B544BED79F6}" srcOrd="0" destOrd="0" presId="urn:microsoft.com/office/officeart/2005/8/layout/default"/>
    <dgm:cxn modelId="{3FF2704C-0CF9-460E-87BE-3865E0891083}" type="presOf" srcId="{682FF398-4D00-4AC2-8D03-3008FC452F2B}" destId="{963C4A53-D41C-4DC5-A737-8B544BED79F6}" srcOrd="0" destOrd="3" presId="urn:microsoft.com/office/officeart/2005/8/layout/default"/>
    <dgm:cxn modelId="{1064DA6C-853D-41A6-9036-1CA967A1AA28}" srcId="{EF9948BC-C795-45E3-80FB-B7F4DAFA5D91}" destId="{AE4F38F0-CBE9-477E-9C5F-A184D29B4D21}" srcOrd="4" destOrd="0" parTransId="{B7E2BE5A-829A-4F6B-B024-78B47AF1D45C}" sibTransId="{7E321BD7-F826-4B30-A093-61A26D5DE877}"/>
    <dgm:cxn modelId="{B0176952-9BBB-4D25-9576-D98CE5D682CA}" srcId="{A1CF662C-E698-40D0-AB6B-1A23BEE9B8F7}" destId="{682FF398-4D00-4AC2-8D03-3008FC452F2B}" srcOrd="2" destOrd="0" parTransId="{75F39551-7E5B-4FE7-A159-86E7DCAFCE77}" sibTransId="{4475CFAF-260A-444D-BC7A-70F6EEA0433F}"/>
    <dgm:cxn modelId="{A2EEBB57-0CD6-46AE-A8CC-0F7521C7521D}" type="presOf" srcId="{375D59C2-5E2C-4A76-837D-F2FBCFCA0D90}" destId="{947CC8F4-6351-45C6-A971-BCBDD8A33921}" srcOrd="0" destOrd="0" presId="urn:microsoft.com/office/officeart/2005/8/layout/default"/>
    <dgm:cxn modelId="{5816EC58-6BC0-4956-B65C-88872C68CC61}" srcId="{EF9948BC-C795-45E3-80FB-B7F4DAFA5D91}" destId="{A1CF662C-E698-40D0-AB6B-1A23BEE9B8F7}" srcOrd="5" destOrd="0" parTransId="{41B7E035-A6EC-4A54-ACFF-C3A203E09EE7}" sibTransId="{CE99A1E5-A213-4D0B-9D9B-D10FF4B9CE0B}"/>
    <dgm:cxn modelId="{8984F98D-A682-43B7-BB0A-781E27C3C18B}" type="presOf" srcId="{7633B5C8-9DE9-480E-A3E1-811FA50AAE21}" destId="{963C4A53-D41C-4DC5-A737-8B544BED79F6}" srcOrd="0" destOrd="2" presId="urn:microsoft.com/office/officeart/2005/8/layout/default"/>
    <dgm:cxn modelId="{B0E9D293-8F19-44EB-BBB0-9B4F77C4C472}" type="presOf" srcId="{F5187897-2B5C-447E-9FA0-BBE114BFD67B}" destId="{7E256610-C828-463C-B9C3-21EC821D67C7}" srcOrd="0" destOrd="0" presId="urn:microsoft.com/office/officeart/2005/8/layout/default"/>
    <dgm:cxn modelId="{74A3F0A0-7DCD-4B5C-B91C-1956AAAD6D29}" type="presOf" srcId="{BFB64C51-B438-475C-9F1C-7CDB23E9A2F6}" destId="{963C4A53-D41C-4DC5-A737-8B544BED79F6}" srcOrd="0" destOrd="1" presId="urn:microsoft.com/office/officeart/2005/8/layout/default"/>
    <dgm:cxn modelId="{22B3A7B6-DA3C-4193-8D6E-09C571A99C71}" type="presOf" srcId="{EF9948BC-C795-45E3-80FB-B7F4DAFA5D91}" destId="{1317029E-7522-4AEB-8BDB-588775A2F17F}" srcOrd="0" destOrd="0" presId="urn:microsoft.com/office/officeart/2005/8/layout/default"/>
    <dgm:cxn modelId="{2EBAC5BA-C5E8-464B-A523-1EB7885E68C1}" srcId="{EF9948BC-C795-45E3-80FB-B7F4DAFA5D91}" destId="{F5187897-2B5C-447E-9FA0-BBE114BFD67B}" srcOrd="3" destOrd="0" parTransId="{44B57A4B-FFD1-417F-AA2D-4B7C9D458FC6}" sibTransId="{D199E6CF-601B-4CED-ABCA-21DBDA507BA7}"/>
    <dgm:cxn modelId="{D363ABBF-410C-4DA8-9450-6C38777850B2}" srcId="{EF9948BC-C795-45E3-80FB-B7F4DAFA5D91}" destId="{6BB51391-654A-47AD-9A3D-70AF67A81BA4}" srcOrd="0" destOrd="0" parTransId="{0D103160-17CF-4F3B-A156-A6E0B5BAF8D3}" sibTransId="{DEC72BF6-AB4D-4E98-8215-B979EF48E67E}"/>
    <dgm:cxn modelId="{563283C5-D115-4EF4-8A02-55AAC1A26F58}" srcId="{A1CF662C-E698-40D0-AB6B-1A23BEE9B8F7}" destId="{7633B5C8-9DE9-480E-A3E1-811FA50AAE21}" srcOrd="1" destOrd="0" parTransId="{63E70A9B-8A66-4475-9463-8498428439B3}" sibTransId="{7ABC174B-C1C8-47C4-BA0D-E5ADE19B8144}"/>
    <dgm:cxn modelId="{7CA2B8E6-3C88-4B8D-BE34-C02FC4300FA4}" type="presOf" srcId="{98FFBE35-A4A8-4D06-91E5-9903F598384A}" destId="{04738C22-1819-4C81-BE1A-76A756C13416}" srcOrd="0" destOrd="0" presId="urn:microsoft.com/office/officeart/2005/8/layout/default"/>
    <dgm:cxn modelId="{2113C0F2-76E1-4DAF-A845-047C846001E8}" srcId="{EF9948BC-C795-45E3-80FB-B7F4DAFA5D91}" destId="{98FFBE35-A4A8-4D06-91E5-9903F598384A}" srcOrd="1" destOrd="0" parTransId="{31C98AE1-B9F7-469F-9C41-1048C380DDF0}" sibTransId="{E2F5CD6D-E0D2-4260-8A39-C9A3C938281D}"/>
    <dgm:cxn modelId="{DEDCD5F8-DA8E-4A0F-8C2E-2A1979689DE2}" srcId="{EF9948BC-C795-45E3-80FB-B7F4DAFA5D91}" destId="{375D59C2-5E2C-4A76-837D-F2FBCFCA0D90}" srcOrd="2" destOrd="0" parTransId="{823322C9-222C-4A41-AC6A-DD3D96DF1DAD}" sibTransId="{3D9E35C8-684F-403C-922D-6DFCF0C277DA}"/>
    <dgm:cxn modelId="{802C0FCF-0343-4B16-A540-4B8D24B8B2B6}" type="presParOf" srcId="{1317029E-7522-4AEB-8BDB-588775A2F17F}" destId="{9C9607D5-93CE-4CBF-A0FD-77C98401EE39}" srcOrd="0" destOrd="0" presId="urn:microsoft.com/office/officeart/2005/8/layout/default"/>
    <dgm:cxn modelId="{DFAD47CB-4003-47D4-A1BE-3B23096D691C}" type="presParOf" srcId="{1317029E-7522-4AEB-8BDB-588775A2F17F}" destId="{9FDFD922-3F26-4EA5-8A0B-B2498CD52060}" srcOrd="1" destOrd="0" presId="urn:microsoft.com/office/officeart/2005/8/layout/default"/>
    <dgm:cxn modelId="{B4C678A2-03B9-4F3E-A17F-430A5AF4867C}" type="presParOf" srcId="{1317029E-7522-4AEB-8BDB-588775A2F17F}" destId="{04738C22-1819-4C81-BE1A-76A756C13416}" srcOrd="2" destOrd="0" presId="urn:microsoft.com/office/officeart/2005/8/layout/default"/>
    <dgm:cxn modelId="{EB81449C-4818-4CC0-ADE2-AD83BA794AD9}" type="presParOf" srcId="{1317029E-7522-4AEB-8BDB-588775A2F17F}" destId="{3479A3CA-48F1-44D6-A988-4E8A74FB9754}" srcOrd="3" destOrd="0" presId="urn:microsoft.com/office/officeart/2005/8/layout/default"/>
    <dgm:cxn modelId="{DD0F16DA-F34F-4AC7-9BFA-6E9B0F4D4080}" type="presParOf" srcId="{1317029E-7522-4AEB-8BDB-588775A2F17F}" destId="{947CC8F4-6351-45C6-A971-BCBDD8A33921}" srcOrd="4" destOrd="0" presId="urn:microsoft.com/office/officeart/2005/8/layout/default"/>
    <dgm:cxn modelId="{B50C7038-2E9E-437C-BF15-EB89E2C63EA3}" type="presParOf" srcId="{1317029E-7522-4AEB-8BDB-588775A2F17F}" destId="{33E475EB-DDDC-450E-B3AA-084F8B46737C}" srcOrd="5" destOrd="0" presId="urn:microsoft.com/office/officeart/2005/8/layout/default"/>
    <dgm:cxn modelId="{21CF4DA0-68BB-4CF0-8133-D653B7592D3C}" type="presParOf" srcId="{1317029E-7522-4AEB-8BDB-588775A2F17F}" destId="{7E256610-C828-463C-B9C3-21EC821D67C7}" srcOrd="6" destOrd="0" presId="urn:microsoft.com/office/officeart/2005/8/layout/default"/>
    <dgm:cxn modelId="{5D938C25-1797-4F8A-85D6-E0BE31946EFD}" type="presParOf" srcId="{1317029E-7522-4AEB-8BDB-588775A2F17F}" destId="{BE6B7ECD-3A3C-4BE9-BA98-66D77AD92EE7}" srcOrd="7" destOrd="0" presId="urn:microsoft.com/office/officeart/2005/8/layout/default"/>
    <dgm:cxn modelId="{3A9D4664-63B5-40C1-9544-75D8C64A6F76}" type="presParOf" srcId="{1317029E-7522-4AEB-8BDB-588775A2F17F}" destId="{0C8D541D-6F73-4B22-AF1A-F110A738E9FF}" srcOrd="8" destOrd="0" presId="urn:microsoft.com/office/officeart/2005/8/layout/default"/>
    <dgm:cxn modelId="{659B6579-CF8C-4454-93DE-38BDB48C2858}" type="presParOf" srcId="{1317029E-7522-4AEB-8BDB-588775A2F17F}" destId="{C709F07B-E72E-4D43-9E15-B0A84716CDDF}" srcOrd="9" destOrd="0" presId="urn:microsoft.com/office/officeart/2005/8/layout/default"/>
    <dgm:cxn modelId="{0F910C1D-4A23-4958-9EFE-2BFCB76084A3}" type="presParOf" srcId="{1317029E-7522-4AEB-8BDB-588775A2F17F}" destId="{963C4A53-D41C-4DC5-A737-8B544BED79F6}"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DC9D60-2A01-4D03-BD8C-18223FBD394B}">
      <dsp:nvSpPr>
        <dsp:cNvPr id="0" name=""/>
        <dsp:cNvSpPr/>
      </dsp:nvSpPr>
      <dsp:spPr>
        <a:xfrm>
          <a:off x="1943591" y="995"/>
          <a:ext cx="2170616" cy="981734"/>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GB" sz="1900" kern="1200"/>
            <a:t>You are the presentor and creator</a:t>
          </a:r>
        </a:p>
      </dsp:txBody>
      <dsp:txXfrm>
        <a:off x="1943591" y="995"/>
        <a:ext cx="2170616" cy="981734"/>
      </dsp:txXfrm>
    </dsp:sp>
    <dsp:sp modelId="{2F2D0D7E-F02F-4E8A-872E-1EE36B2BD788}">
      <dsp:nvSpPr>
        <dsp:cNvPr id="0" name=""/>
        <dsp:cNvSpPr/>
      </dsp:nvSpPr>
      <dsp:spPr>
        <a:xfrm>
          <a:off x="874482" y="995"/>
          <a:ext cx="971917" cy="98173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1000" r="-1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51224C-BE19-454B-99E3-65914B97833E}">
      <dsp:nvSpPr>
        <dsp:cNvPr id="0" name=""/>
        <dsp:cNvSpPr/>
      </dsp:nvSpPr>
      <dsp:spPr>
        <a:xfrm>
          <a:off x="874482" y="1144716"/>
          <a:ext cx="2170616" cy="981734"/>
        </a:xfrm>
        <a:prstGeom prst="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GB" sz="1900" kern="1200"/>
            <a:t>Death by PWP !</a:t>
          </a:r>
        </a:p>
      </dsp:txBody>
      <dsp:txXfrm>
        <a:off x="874482" y="1144716"/>
        <a:ext cx="2170616" cy="981734"/>
      </dsp:txXfrm>
    </dsp:sp>
    <dsp:sp modelId="{1DDB8304-8068-4860-84A4-09C5905C65EC}">
      <dsp:nvSpPr>
        <dsp:cNvPr id="0" name=""/>
        <dsp:cNvSpPr/>
      </dsp:nvSpPr>
      <dsp:spPr>
        <a:xfrm>
          <a:off x="3142290" y="1144716"/>
          <a:ext cx="971917" cy="98173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000" r="-1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6455AA1-C415-45E0-AFD9-57BED38288ED}">
      <dsp:nvSpPr>
        <dsp:cNvPr id="0" name=""/>
        <dsp:cNvSpPr/>
      </dsp:nvSpPr>
      <dsp:spPr>
        <a:xfrm>
          <a:off x="1943591" y="2288438"/>
          <a:ext cx="2170616" cy="981734"/>
        </a:xfrm>
        <a:prstGeom prst="rect">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r-BE" sz="1900" kern="1200"/>
            <a:t>Drawing on a flipchart – the old school</a:t>
          </a:r>
          <a:endParaRPr lang="en-GB" sz="1900" kern="1200"/>
        </a:p>
      </dsp:txBody>
      <dsp:txXfrm>
        <a:off x="1943591" y="2288438"/>
        <a:ext cx="2170616" cy="981734"/>
      </dsp:txXfrm>
    </dsp:sp>
    <dsp:sp modelId="{CDB8DAAD-9B12-4996-A644-BAD071D5ECBA}">
      <dsp:nvSpPr>
        <dsp:cNvPr id="0" name=""/>
        <dsp:cNvSpPr/>
      </dsp:nvSpPr>
      <dsp:spPr>
        <a:xfrm>
          <a:off x="874482" y="2288438"/>
          <a:ext cx="971917" cy="98173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000" r="-1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77C728-71FA-4C09-9347-D39523AC1EB5}">
      <dsp:nvSpPr>
        <dsp:cNvPr id="0" name=""/>
        <dsp:cNvSpPr/>
      </dsp:nvSpPr>
      <dsp:spPr>
        <a:xfrm>
          <a:off x="874482" y="3432159"/>
          <a:ext cx="2170616" cy="981734"/>
        </a:xfrm>
        <a:prstGeom prst="rect">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fr-BE" sz="1900" kern="1200"/>
            <a:t>Room setup</a:t>
          </a:r>
          <a:endParaRPr lang="en-GB" sz="1900" kern="1200"/>
        </a:p>
      </dsp:txBody>
      <dsp:txXfrm>
        <a:off x="874482" y="3432159"/>
        <a:ext cx="2170616" cy="981734"/>
      </dsp:txXfrm>
    </dsp:sp>
    <dsp:sp modelId="{F9E08518-2F37-48FB-8EAF-CB50EB8C643C}">
      <dsp:nvSpPr>
        <dsp:cNvPr id="0" name=""/>
        <dsp:cNvSpPr/>
      </dsp:nvSpPr>
      <dsp:spPr>
        <a:xfrm>
          <a:off x="3142290" y="3432159"/>
          <a:ext cx="971917" cy="98173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000" r="-1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B76AF39-2C2C-4199-A3EE-73940FB021DE}">
      <dsp:nvSpPr>
        <dsp:cNvPr id="0" name=""/>
        <dsp:cNvSpPr/>
      </dsp:nvSpPr>
      <dsp:spPr>
        <a:xfrm>
          <a:off x="1943591" y="4575880"/>
          <a:ext cx="2170616" cy="981734"/>
        </a:xfrm>
        <a:prstGeom prst="rect">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GB" sz="1900" kern="1200"/>
            <a:t>Power to your point</a:t>
          </a:r>
        </a:p>
      </dsp:txBody>
      <dsp:txXfrm>
        <a:off x="1943591" y="4575880"/>
        <a:ext cx="2170616" cy="981734"/>
      </dsp:txXfrm>
    </dsp:sp>
    <dsp:sp modelId="{AC54D540-4347-4D57-B736-8A058E8619F8}">
      <dsp:nvSpPr>
        <dsp:cNvPr id="0" name=""/>
        <dsp:cNvSpPr/>
      </dsp:nvSpPr>
      <dsp:spPr>
        <a:xfrm>
          <a:off x="874482" y="4575880"/>
          <a:ext cx="971917" cy="98173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1000" r="-1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9CAE0B-FF3A-48E3-8975-7C3F233D0671}">
      <dsp:nvSpPr>
        <dsp:cNvPr id="0" name=""/>
        <dsp:cNvSpPr/>
      </dsp:nvSpPr>
      <dsp:spPr>
        <a:xfrm>
          <a:off x="3080" y="537873"/>
          <a:ext cx="1636811" cy="518400"/>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b="0" i="0" kern="1200" dirty="0"/>
            <a:t>Column Chart</a:t>
          </a:r>
          <a:endParaRPr lang="en-GB" sz="1800" kern="1200" dirty="0"/>
        </a:p>
      </dsp:txBody>
      <dsp:txXfrm>
        <a:off x="3080" y="537873"/>
        <a:ext cx="1636811" cy="518400"/>
      </dsp:txXfrm>
    </dsp:sp>
    <dsp:sp modelId="{B50AFE9C-9A3D-4C91-A0F6-C54DCA69BD70}">
      <dsp:nvSpPr>
        <dsp:cNvPr id="0" name=""/>
        <dsp:cNvSpPr/>
      </dsp:nvSpPr>
      <dsp:spPr>
        <a:xfrm>
          <a:off x="3080" y="1056273"/>
          <a:ext cx="1636811" cy="2025037"/>
        </a:xfrm>
        <a:prstGeom prst="rect">
          <a:avLst/>
        </a:prstGeom>
        <a:solidFill>
          <a:schemeClr val="accent2">
            <a:tint val="40000"/>
            <a:alpha val="90000"/>
            <a:hueOff val="0"/>
            <a:satOff val="0"/>
            <a:lumOff val="0"/>
            <a:alphaOff val="0"/>
          </a:schemeClr>
        </a:solidFill>
        <a:ln w="1587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GB" sz="1800" b="0" i="0" kern="1200" dirty="0"/>
            <a:t>Compares data across different categories or groups. </a:t>
          </a:r>
          <a:endParaRPr lang="en-GB" sz="1800" kern="1200" dirty="0"/>
        </a:p>
      </dsp:txBody>
      <dsp:txXfrm>
        <a:off x="3080" y="1056273"/>
        <a:ext cx="1636811" cy="2025037"/>
      </dsp:txXfrm>
    </dsp:sp>
    <dsp:sp modelId="{E9428701-F7D5-4912-99E7-247E19B2B9DF}">
      <dsp:nvSpPr>
        <dsp:cNvPr id="0" name=""/>
        <dsp:cNvSpPr/>
      </dsp:nvSpPr>
      <dsp:spPr>
        <a:xfrm>
          <a:off x="1869045" y="537873"/>
          <a:ext cx="1636811" cy="518400"/>
        </a:xfrm>
        <a:prstGeom prst="rect">
          <a:avLst/>
        </a:prstGeom>
        <a:solidFill>
          <a:schemeClr val="accent3">
            <a:hueOff val="0"/>
            <a:satOff val="0"/>
            <a:lumOff val="0"/>
            <a:alphaOff val="0"/>
          </a:schemeClr>
        </a:solidFill>
        <a:ln w="1587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b="0" i="0" kern="1200" dirty="0"/>
            <a:t>Bar Chart</a:t>
          </a:r>
          <a:endParaRPr lang="en-GB" sz="1800" kern="1200" dirty="0"/>
        </a:p>
      </dsp:txBody>
      <dsp:txXfrm>
        <a:off x="1869045" y="537873"/>
        <a:ext cx="1636811" cy="518400"/>
      </dsp:txXfrm>
    </dsp:sp>
    <dsp:sp modelId="{D1D3C07D-5D5C-4680-83B0-1740BAC0C74F}">
      <dsp:nvSpPr>
        <dsp:cNvPr id="0" name=""/>
        <dsp:cNvSpPr/>
      </dsp:nvSpPr>
      <dsp:spPr>
        <a:xfrm>
          <a:off x="1869045" y="1056273"/>
          <a:ext cx="1636811" cy="2025037"/>
        </a:xfrm>
        <a:prstGeom prst="rect">
          <a:avLst/>
        </a:prstGeom>
        <a:solidFill>
          <a:schemeClr val="accent3">
            <a:tint val="40000"/>
            <a:alpha val="90000"/>
            <a:hueOff val="0"/>
            <a:satOff val="0"/>
            <a:lumOff val="0"/>
            <a:alphaOff val="0"/>
          </a:schemeClr>
        </a:solidFill>
        <a:ln w="1587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GB" sz="1800" b="0" i="0" kern="1200" dirty="0"/>
            <a:t>Compares data across categories. Bars are horizontal instead of vertical.</a:t>
          </a:r>
          <a:endParaRPr lang="en-GB" sz="1800" kern="1200" dirty="0"/>
        </a:p>
      </dsp:txBody>
      <dsp:txXfrm>
        <a:off x="1869045" y="1056273"/>
        <a:ext cx="1636811" cy="2025037"/>
      </dsp:txXfrm>
    </dsp:sp>
    <dsp:sp modelId="{10E96785-5EBE-45DB-B709-205F5A2A13F9}">
      <dsp:nvSpPr>
        <dsp:cNvPr id="0" name=""/>
        <dsp:cNvSpPr/>
      </dsp:nvSpPr>
      <dsp:spPr>
        <a:xfrm>
          <a:off x="3735011" y="537873"/>
          <a:ext cx="1636811" cy="518400"/>
        </a:xfrm>
        <a:prstGeom prst="rect">
          <a:avLst/>
        </a:prstGeom>
        <a:solidFill>
          <a:schemeClr val="accent4">
            <a:hueOff val="0"/>
            <a:satOff val="0"/>
            <a:lumOff val="0"/>
            <a:alphaOff val="0"/>
          </a:schemeClr>
        </a:solidFill>
        <a:ln w="1587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b="0" i="0" kern="1200" dirty="0"/>
            <a:t>Line Chart</a:t>
          </a:r>
          <a:endParaRPr lang="en-GB" sz="1800" kern="1200" dirty="0"/>
        </a:p>
      </dsp:txBody>
      <dsp:txXfrm>
        <a:off x="3735011" y="537873"/>
        <a:ext cx="1636811" cy="518400"/>
      </dsp:txXfrm>
    </dsp:sp>
    <dsp:sp modelId="{6F7210FC-0892-4049-ACE2-D0BF9D801743}">
      <dsp:nvSpPr>
        <dsp:cNvPr id="0" name=""/>
        <dsp:cNvSpPr/>
      </dsp:nvSpPr>
      <dsp:spPr>
        <a:xfrm>
          <a:off x="3735011" y="1056273"/>
          <a:ext cx="1636811" cy="2025037"/>
        </a:xfrm>
        <a:prstGeom prst="rect">
          <a:avLst/>
        </a:prstGeom>
        <a:solidFill>
          <a:schemeClr val="accent4">
            <a:tint val="40000"/>
            <a:alpha val="90000"/>
            <a:hueOff val="0"/>
            <a:satOff val="0"/>
            <a:lumOff val="0"/>
            <a:alphaOff val="0"/>
          </a:schemeClr>
        </a:solidFill>
        <a:ln w="1587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GB" sz="1800" b="0" i="0" kern="1200" dirty="0"/>
            <a:t>Displays trends or changes over time. </a:t>
          </a:r>
          <a:endParaRPr lang="en-GB" sz="1800" kern="1200" dirty="0"/>
        </a:p>
      </dsp:txBody>
      <dsp:txXfrm>
        <a:off x="3735011" y="1056273"/>
        <a:ext cx="1636811" cy="2025037"/>
      </dsp:txXfrm>
    </dsp:sp>
    <dsp:sp modelId="{5378780D-088C-450E-B594-50AE3CB653BA}">
      <dsp:nvSpPr>
        <dsp:cNvPr id="0" name=""/>
        <dsp:cNvSpPr/>
      </dsp:nvSpPr>
      <dsp:spPr>
        <a:xfrm>
          <a:off x="5600976" y="537873"/>
          <a:ext cx="1636811" cy="518400"/>
        </a:xfrm>
        <a:prstGeom prst="rect">
          <a:avLst/>
        </a:prstGeom>
        <a:solidFill>
          <a:schemeClr val="accent5">
            <a:hueOff val="0"/>
            <a:satOff val="0"/>
            <a:lumOff val="0"/>
            <a:alphaOff val="0"/>
          </a:schemeClr>
        </a:solidFill>
        <a:ln w="1587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b="0" i="0" kern="1200" dirty="0"/>
            <a:t>Pie Chart</a:t>
          </a:r>
          <a:endParaRPr lang="en-GB" sz="1800" kern="1200" dirty="0"/>
        </a:p>
      </dsp:txBody>
      <dsp:txXfrm>
        <a:off x="5600976" y="537873"/>
        <a:ext cx="1636811" cy="518400"/>
      </dsp:txXfrm>
    </dsp:sp>
    <dsp:sp modelId="{CD6F0C01-56F8-4762-9F6B-8B961866CA82}">
      <dsp:nvSpPr>
        <dsp:cNvPr id="0" name=""/>
        <dsp:cNvSpPr/>
      </dsp:nvSpPr>
      <dsp:spPr>
        <a:xfrm>
          <a:off x="5600976" y="1056273"/>
          <a:ext cx="1636811" cy="2025037"/>
        </a:xfrm>
        <a:prstGeom prst="rect">
          <a:avLst/>
        </a:prstGeom>
        <a:solidFill>
          <a:schemeClr val="accent5">
            <a:tint val="40000"/>
            <a:alpha val="90000"/>
            <a:hueOff val="0"/>
            <a:satOff val="0"/>
            <a:lumOff val="0"/>
            <a:alphaOff val="0"/>
          </a:schemeClr>
        </a:solidFill>
        <a:ln w="1587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GB" sz="1800" b="0" i="0" kern="1200" dirty="0"/>
            <a:t>Represents proportions or percentages of a whole.</a:t>
          </a:r>
          <a:endParaRPr lang="en-GB" sz="1800" kern="1200" dirty="0"/>
        </a:p>
      </dsp:txBody>
      <dsp:txXfrm>
        <a:off x="5600976" y="1056273"/>
        <a:ext cx="1636811" cy="2025037"/>
      </dsp:txXfrm>
    </dsp:sp>
    <dsp:sp modelId="{531F6DDD-CA4F-48A8-8CE1-A7185BC3BE08}">
      <dsp:nvSpPr>
        <dsp:cNvPr id="0" name=""/>
        <dsp:cNvSpPr/>
      </dsp:nvSpPr>
      <dsp:spPr>
        <a:xfrm>
          <a:off x="7466941" y="537873"/>
          <a:ext cx="1636811" cy="518400"/>
        </a:xfrm>
        <a:prstGeom prst="rect">
          <a:avLst/>
        </a:prstGeom>
        <a:solidFill>
          <a:schemeClr val="accent6">
            <a:hueOff val="0"/>
            <a:satOff val="0"/>
            <a:lumOff val="0"/>
            <a:alphaOff val="0"/>
          </a:schemeClr>
        </a:solidFill>
        <a:ln w="1587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b="0" i="0" kern="1200" dirty="0"/>
            <a:t>Scatter Plot</a:t>
          </a:r>
          <a:endParaRPr lang="en-GB" sz="1800" kern="1200" dirty="0"/>
        </a:p>
      </dsp:txBody>
      <dsp:txXfrm>
        <a:off x="7466941" y="537873"/>
        <a:ext cx="1636811" cy="518400"/>
      </dsp:txXfrm>
    </dsp:sp>
    <dsp:sp modelId="{1E097BB8-EF3C-40E7-A17F-0FAF8B504383}">
      <dsp:nvSpPr>
        <dsp:cNvPr id="0" name=""/>
        <dsp:cNvSpPr/>
      </dsp:nvSpPr>
      <dsp:spPr>
        <a:xfrm>
          <a:off x="7466941" y="1056273"/>
          <a:ext cx="1636811" cy="2025037"/>
        </a:xfrm>
        <a:prstGeom prst="rect">
          <a:avLst/>
        </a:prstGeom>
        <a:solidFill>
          <a:schemeClr val="accent6">
            <a:tint val="40000"/>
            <a:alpha val="90000"/>
            <a:hueOff val="0"/>
            <a:satOff val="0"/>
            <a:lumOff val="0"/>
            <a:alphaOff val="0"/>
          </a:schemeClr>
        </a:solidFill>
        <a:ln w="15875"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GB" sz="1800" b="0" i="0" kern="1200" dirty="0"/>
            <a:t>Displays the relationship between two numerical variables.</a:t>
          </a:r>
          <a:endParaRPr lang="en-GB" sz="1800" kern="1200" dirty="0"/>
        </a:p>
      </dsp:txBody>
      <dsp:txXfrm>
        <a:off x="7466941" y="1056273"/>
        <a:ext cx="1636811" cy="2025037"/>
      </dsp:txXfrm>
    </dsp:sp>
    <dsp:sp modelId="{F7EC4A7A-42E4-46FB-8FBA-E28874CAC93C}">
      <dsp:nvSpPr>
        <dsp:cNvPr id="0" name=""/>
        <dsp:cNvSpPr/>
      </dsp:nvSpPr>
      <dsp:spPr>
        <a:xfrm>
          <a:off x="9332906" y="537873"/>
          <a:ext cx="1636811" cy="518400"/>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b="0" i="0" kern="1200" dirty="0"/>
            <a:t>Area Chart</a:t>
          </a:r>
          <a:endParaRPr lang="en-GB" sz="1800" kern="1200" dirty="0"/>
        </a:p>
      </dsp:txBody>
      <dsp:txXfrm>
        <a:off x="9332906" y="537873"/>
        <a:ext cx="1636811" cy="518400"/>
      </dsp:txXfrm>
    </dsp:sp>
    <dsp:sp modelId="{1180E9CD-AC03-44E4-B527-FB5946716D54}">
      <dsp:nvSpPr>
        <dsp:cNvPr id="0" name=""/>
        <dsp:cNvSpPr/>
      </dsp:nvSpPr>
      <dsp:spPr>
        <a:xfrm>
          <a:off x="9332906" y="1056273"/>
          <a:ext cx="1636811" cy="2025037"/>
        </a:xfrm>
        <a:prstGeom prst="rect">
          <a:avLst/>
        </a:prstGeom>
        <a:solidFill>
          <a:schemeClr val="accent2">
            <a:tint val="40000"/>
            <a:alpha val="90000"/>
            <a:hueOff val="0"/>
            <a:satOff val="0"/>
            <a:lumOff val="0"/>
            <a:alphaOff val="0"/>
          </a:schemeClr>
        </a:solidFill>
        <a:ln w="1587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GB" sz="1800" b="0" i="0" kern="1200" dirty="0"/>
            <a:t>Similar to line charts but represents accumulated totals over time.</a:t>
          </a:r>
          <a:endParaRPr lang="en-GB" sz="1800" kern="1200" dirty="0"/>
        </a:p>
      </dsp:txBody>
      <dsp:txXfrm>
        <a:off x="9332906" y="1056273"/>
        <a:ext cx="1636811" cy="202503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F56436-C912-4EFA-A0F7-702F3A8FB9C1}">
      <dsp:nvSpPr>
        <dsp:cNvPr id="0" name=""/>
        <dsp:cNvSpPr/>
      </dsp:nvSpPr>
      <dsp:spPr>
        <a:xfrm>
          <a:off x="4918" y="355521"/>
          <a:ext cx="1885322" cy="576000"/>
        </a:xfrm>
        <a:prstGeom prst="rect">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b="0" i="0" kern="1200" dirty="0"/>
            <a:t>Histogram</a:t>
          </a:r>
          <a:endParaRPr lang="en-GB" sz="2000" kern="1200" dirty="0"/>
        </a:p>
      </dsp:txBody>
      <dsp:txXfrm>
        <a:off x="4918" y="355521"/>
        <a:ext cx="1885322" cy="576000"/>
      </dsp:txXfrm>
    </dsp:sp>
    <dsp:sp modelId="{CC0125E5-5762-4FF7-BC85-26306A4504B6}">
      <dsp:nvSpPr>
        <dsp:cNvPr id="0" name=""/>
        <dsp:cNvSpPr/>
      </dsp:nvSpPr>
      <dsp:spPr>
        <a:xfrm>
          <a:off x="4918" y="931521"/>
          <a:ext cx="1885322" cy="2532262"/>
        </a:xfrm>
        <a:prstGeom prst="rect">
          <a:avLst/>
        </a:prstGeom>
        <a:solidFill>
          <a:schemeClr val="accent2">
            <a:tint val="40000"/>
            <a:alpha val="90000"/>
            <a:hueOff val="0"/>
            <a:satOff val="0"/>
            <a:lumOff val="0"/>
            <a:alphaOff val="0"/>
          </a:schemeClr>
        </a:solidFill>
        <a:ln w="15875"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b="0" i="0" kern="1200" dirty="0"/>
            <a:t>Visualizes the distribution of a dataset. </a:t>
          </a:r>
          <a:endParaRPr lang="en-GB" sz="2000" kern="1200" dirty="0"/>
        </a:p>
      </dsp:txBody>
      <dsp:txXfrm>
        <a:off x="4918" y="931521"/>
        <a:ext cx="1885322" cy="2532262"/>
      </dsp:txXfrm>
    </dsp:sp>
    <dsp:sp modelId="{26DB24C0-A869-48DC-B864-4433E8857F61}">
      <dsp:nvSpPr>
        <dsp:cNvPr id="0" name=""/>
        <dsp:cNvSpPr/>
      </dsp:nvSpPr>
      <dsp:spPr>
        <a:xfrm>
          <a:off x="2154185" y="355521"/>
          <a:ext cx="1885322" cy="576000"/>
        </a:xfrm>
        <a:prstGeom prst="rect">
          <a:avLst/>
        </a:prstGeom>
        <a:solidFill>
          <a:schemeClr val="accent3">
            <a:hueOff val="0"/>
            <a:satOff val="0"/>
            <a:lumOff val="0"/>
            <a:alphaOff val="0"/>
          </a:schemeClr>
        </a:solidFill>
        <a:ln w="1587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b="0" i="0" kern="1200" dirty="0"/>
            <a:t>Waterfall Chart</a:t>
          </a:r>
          <a:endParaRPr lang="en-GB" sz="2000" kern="1200" dirty="0"/>
        </a:p>
      </dsp:txBody>
      <dsp:txXfrm>
        <a:off x="2154185" y="355521"/>
        <a:ext cx="1885322" cy="576000"/>
      </dsp:txXfrm>
    </dsp:sp>
    <dsp:sp modelId="{429BD5D6-8258-477F-8EBF-B7520562EC40}">
      <dsp:nvSpPr>
        <dsp:cNvPr id="0" name=""/>
        <dsp:cNvSpPr/>
      </dsp:nvSpPr>
      <dsp:spPr>
        <a:xfrm>
          <a:off x="2154185" y="931521"/>
          <a:ext cx="1885322" cy="2532262"/>
        </a:xfrm>
        <a:prstGeom prst="rect">
          <a:avLst/>
        </a:prstGeom>
        <a:solidFill>
          <a:schemeClr val="accent3">
            <a:tint val="40000"/>
            <a:alpha val="90000"/>
            <a:hueOff val="0"/>
            <a:satOff val="0"/>
            <a:lumOff val="0"/>
            <a:alphaOff val="0"/>
          </a:schemeClr>
        </a:solidFill>
        <a:ln w="15875"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b="0" i="0" kern="1200" dirty="0"/>
            <a:t>Illustrates the cumulative effect of positive and negative values on a total.</a:t>
          </a:r>
          <a:endParaRPr lang="en-GB" sz="2000" kern="1200" dirty="0"/>
        </a:p>
      </dsp:txBody>
      <dsp:txXfrm>
        <a:off x="2154185" y="931521"/>
        <a:ext cx="1885322" cy="2532262"/>
      </dsp:txXfrm>
    </dsp:sp>
    <dsp:sp modelId="{C1E200FE-696A-49DD-830B-906D7B71BC21}">
      <dsp:nvSpPr>
        <dsp:cNvPr id="0" name=""/>
        <dsp:cNvSpPr/>
      </dsp:nvSpPr>
      <dsp:spPr>
        <a:xfrm>
          <a:off x="4303452" y="355521"/>
          <a:ext cx="1885322" cy="576000"/>
        </a:xfrm>
        <a:prstGeom prst="rect">
          <a:avLst/>
        </a:prstGeom>
        <a:solidFill>
          <a:schemeClr val="accent4">
            <a:hueOff val="0"/>
            <a:satOff val="0"/>
            <a:lumOff val="0"/>
            <a:alphaOff val="0"/>
          </a:schemeClr>
        </a:solidFill>
        <a:ln w="1587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b="0" i="0" kern="1200" dirty="0"/>
            <a:t>Funnel Chart </a:t>
          </a:r>
          <a:endParaRPr lang="en-GB" sz="2000" kern="1200" dirty="0"/>
        </a:p>
      </dsp:txBody>
      <dsp:txXfrm>
        <a:off x="4303452" y="355521"/>
        <a:ext cx="1885322" cy="576000"/>
      </dsp:txXfrm>
    </dsp:sp>
    <dsp:sp modelId="{DC1A2751-D74F-4774-8B5D-AA668E2609FA}">
      <dsp:nvSpPr>
        <dsp:cNvPr id="0" name=""/>
        <dsp:cNvSpPr/>
      </dsp:nvSpPr>
      <dsp:spPr>
        <a:xfrm>
          <a:off x="4303452" y="931521"/>
          <a:ext cx="1885322" cy="2532262"/>
        </a:xfrm>
        <a:prstGeom prst="rect">
          <a:avLst/>
        </a:prstGeom>
        <a:solidFill>
          <a:schemeClr val="accent4">
            <a:tint val="40000"/>
            <a:alpha val="90000"/>
            <a:hueOff val="0"/>
            <a:satOff val="0"/>
            <a:lumOff val="0"/>
            <a:alphaOff val="0"/>
          </a:schemeClr>
        </a:solidFill>
        <a:ln w="15875"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b="0" i="0" kern="1200" dirty="0"/>
            <a:t>Visualizes a series of stages in a process or sales funnel. </a:t>
          </a:r>
          <a:endParaRPr lang="en-GB" sz="2000" kern="1200" dirty="0"/>
        </a:p>
      </dsp:txBody>
      <dsp:txXfrm>
        <a:off x="4303452" y="931521"/>
        <a:ext cx="1885322" cy="2532262"/>
      </dsp:txXfrm>
    </dsp:sp>
    <dsp:sp modelId="{E25F9C7E-32D6-4368-860E-39A16C992369}">
      <dsp:nvSpPr>
        <dsp:cNvPr id="0" name=""/>
        <dsp:cNvSpPr/>
      </dsp:nvSpPr>
      <dsp:spPr>
        <a:xfrm>
          <a:off x="6452720" y="355521"/>
          <a:ext cx="1885322" cy="576000"/>
        </a:xfrm>
        <a:prstGeom prst="rect">
          <a:avLst/>
        </a:prstGeom>
        <a:solidFill>
          <a:schemeClr val="accent5">
            <a:hueOff val="0"/>
            <a:satOff val="0"/>
            <a:lumOff val="0"/>
            <a:alphaOff val="0"/>
          </a:schemeClr>
        </a:solidFill>
        <a:ln w="1587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b="0" i="0" kern="1200"/>
            <a:t>Treemap</a:t>
          </a:r>
          <a:endParaRPr lang="en-GB" sz="2000" kern="1200" dirty="0"/>
        </a:p>
      </dsp:txBody>
      <dsp:txXfrm>
        <a:off x="6452720" y="355521"/>
        <a:ext cx="1885322" cy="576000"/>
      </dsp:txXfrm>
    </dsp:sp>
    <dsp:sp modelId="{210CD6E9-D678-47FD-A3FD-A78B207EC39D}">
      <dsp:nvSpPr>
        <dsp:cNvPr id="0" name=""/>
        <dsp:cNvSpPr/>
      </dsp:nvSpPr>
      <dsp:spPr>
        <a:xfrm>
          <a:off x="6452720" y="931521"/>
          <a:ext cx="1885322" cy="2532262"/>
        </a:xfrm>
        <a:prstGeom prst="rect">
          <a:avLst/>
        </a:prstGeom>
        <a:solidFill>
          <a:schemeClr val="accent5">
            <a:tint val="40000"/>
            <a:alpha val="90000"/>
            <a:hueOff val="0"/>
            <a:satOff val="0"/>
            <a:lumOff val="0"/>
            <a:alphaOff val="0"/>
          </a:schemeClr>
        </a:solidFill>
        <a:ln w="15875"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b="0" i="0" kern="1200" dirty="0"/>
            <a:t>Displays hierarchical data using nested rectangles or squares. </a:t>
          </a:r>
          <a:endParaRPr lang="en-GB" sz="2000" kern="1200" dirty="0"/>
        </a:p>
      </dsp:txBody>
      <dsp:txXfrm>
        <a:off x="6452720" y="931521"/>
        <a:ext cx="1885322" cy="2532262"/>
      </dsp:txXfrm>
    </dsp:sp>
    <dsp:sp modelId="{F0B8ED99-457E-4863-A16F-E93A4FA18471}">
      <dsp:nvSpPr>
        <dsp:cNvPr id="0" name=""/>
        <dsp:cNvSpPr/>
      </dsp:nvSpPr>
      <dsp:spPr>
        <a:xfrm>
          <a:off x="8601987" y="355521"/>
          <a:ext cx="1885322" cy="576000"/>
        </a:xfrm>
        <a:prstGeom prst="rect">
          <a:avLst/>
        </a:prstGeom>
        <a:solidFill>
          <a:schemeClr val="accent6">
            <a:hueOff val="0"/>
            <a:satOff val="0"/>
            <a:lumOff val="0"/>
            <a:alphaOff val="0"/>
          </a:schemeClr>
        </a:solidFill>
        <a:ln w="1587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b="0" i="0" kern="1200" dirty="0"/>
            <a:t>Sunburst Chart</a:t>
          </a:r>
          <a:endParaRPr lang="en-GB" sz="2000" kern="1200" dirty="0"/>
        </a:p>
      </dsp:txBody>
      <dsp:txXfrm>
        <a:off x="8601987" y="355521"/>
        <a:ext cx="1885322" cy="576000"/>
      </dsp:txXfrm>
    </dsp:sp>
    <dsp:sp modelId="{E37F1A26-BA2A-4D85-8FF4-F8C39FC2F32E}">
      <dsp:nvSpPr>
        <dsp:cNvPr id="0" name=""/>
        <dsp:cNvSpPr/>
      </dsp:nvSpPr>
      <dsp:spPr>
        <a:xfrm>
          <a:off x="8601987" y="931521"/>
          <a:ext cx="1885322" cy="2532262"/>
        </a:xfrm>
        <a:prstGeom prst="rect">
          <a:avLst/>
        </a:prstGeom>
        <a:solidFill>
          <a:schemeClr val="accent6">
            <a:tint val="40000"/>
            <a:alpha val="90000"/>
            <a:hueOff val="0"/>
            <a:satOff val="0"/>
            <a:lumOff val="0"/>
            <a:alphaOff val="0"/>
          </a:schemeClr>
        </a:solidFill>
        <a:ln w="15875"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b="0" i="0" kern="1200" dirty="0"/>
            <a:t>Displays hierarchical data, similar to </a:t>
          </a:r>
          <a:r>
            <a:rPr lang="en-GB" sz="2000" b="0" i="0" kern="1200" dirty="0" err="1"/>
            <a:t>treemaps</a:t>
          </a:r>
          <a:r>
            <a:rPr lang="en-GB" sz="2000" b="0" i="0" kern="1200" dirty="0"/>
            <a:t>, but in a circular format. </a:t>
          </a:r>
          <a:endParaRPr lang="en-GB" sz="2000" kern="1200" dirty="0"/>
        </a:p>
      </dsp:txBody>
      <dsp:txXfrm>
        <a:off x="8601987" y="931521"/>
        <a:ext cx="1885322" cy="25322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D70C1B-6074-4427-8117-B8200FA1A709}">
      <dsp:nvSpPr>
        <dsp:cNvPr id="0" name=""/>
        <dsp:cNvSpPr/>
      </dsp:nvSpPr>
      <dsp:spPr>
        <a:xfrm>
          <a:off x="1227" y="574799"/>
          <a:ext cx="4788544" cy="2873126"/>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fr-BE" sz="3200" kern="1200"/>
            <a:t>Fonts</a:t>
          </a:r>
          <a:endParaRPr lang="nl-BE" sz="3200" kern="1200"/>
        </a:p>
        <a:p>
          <a:pPr marL="228600" lvl="1" indent="-228600" algn="l" defTabSz="1111250">
            <a:lnSpc>
              <a:spcPct val="90000"/>
            </a:lnSpc>
            <a:spcBef>
              <a:spcPct val="0"/>
            </a:spcBef>
            <a:spcAft>
              <a:spcPct val="15000"/>
            </a:spcAft>
            <a:buChar char="•"/>
          </a:pPr>
          <a:r>
            <a:rPr lang="fr-BE" sz="2500" kern="1200"/>
            <a:t>Sans serif font</a:t>
          </a:r>
          <a:endParaRPr lang="nl-BE" sz="2500" kern="1200"/>
        </a:p>
        <a:p>
          <a:pPr marL="228600" lvl="1" indent="-228600" algn="l" defTabSz="1111250">
            <a:lnSpc>
              <a:spcPct val="90000"/>
            </a:lnSpc>
            <a:spcBef>
              <a:spcPct val="0"/>
            </a:spcBef>
            <a:spcAft>
              <a:spcPct val="15000"/>
            </a:spcAft>
            <a:buChar char="•"/>
          </a:pPr>
          <a:r>
            <a:rPr lang="fr-BE" sz="2500" kern="1200" dirty="0"/>
            <a:t>2-3 sizes</a:t>
          </a:r>
          <a:endParaRPr lang="nl-BE" sz="2500" kern="1200" dirty="0"/>
        </a:p>
        <a:p>
          <a:pPr marL="228600" lvl="1" indent="-228600" algn="l" defTabSz="1111250">
            <a:lnSpc>
              <a:spcPct val="90000"/>
            </a:lnSpc>
            <a:spcBef>
              <a:spcPct val="0"/>
            </a:spcBef>
            <a:spcAft>
              <a:spcPct val="15000"/>
            </a:spcAft>
            <a:buChar char="•"/>
          </a:pPr>
          <a:r>
            <a:rPr lang="fr-BE" sz="2500" kern="1200" dirty="0" err="1"/>
            <a:t>Larger</a:t>
          </a:r>
          <a:r>
            <a:rPr lang="fr-BE" sz="2500" kern="1200" dirty="0"/>
            <a:t> sizes - 24pt and up</a:t>
          </a:r>
          <a:endParaRPr lang="nl-BE" sz="2500" kern="1200" dirty="0"/>
        </a:p>
        <a:p>
          <a:pPr marL="228600" lvl="1" indent="-228600" algn="l" defTabSz="1111250">
            <a:lnSpc>
              <a:spcPct val="90000"/>
            </a:lnSpc>
            <a:spcBef>
              <a:spcPct val="0"/>
            </a:spcBef>
            <a:spcAft>
              <a:spcPct val="15000"/>
            </a:spcAft>
            <a:buChar char="•"/>
          </a:pPr>
          <a:r>
            <a:rPr lang="fr-BE" sz="2500" b="1" kern="1200" dirty="0">
              <a:solidFill>
                <a:schemeClr val="bg2">
                  <a:lumMod val="75000"/>
                </a:schemeClr>
              </a:solidFill>
            </a:rPr>
            <a:t>Bold/</a:t>
          </a:r>
          <a:r>
            <a:rPr lang="fr-BE" sz="2500" b="1" kern="1200" dirty="0" err="1">
              <a:solidFill>
                <a:schemeClr val="bg2">
                  <a:lumMod val="75000"/>
                </a:schemeClr>
              </a:solidFill>
            </a:rPr>
            <a:t>contrast</a:t>
          </a:r>
          <a:r>
            <a:rPr lang="fr-BE" sz="2500" b="1" kern="1200" dirty="0">
              <a:solidFill>
                <a:schemeClr val="bg2">
                  <a:lumMod val="75000"/>
                </a:schemeClr>
              </a:solidFill>
            </a:rPr>
            <a:t> </a:t>
          </a:r>
          <a:r>
            <a:rPr lang="fr-BE" sz="2500" kern="1200" dirty="0"/>
            <a:t>to </a:t>
          </a:r>
          <a:r>
            <a:rPr lang="fr-BE" sz="2500" kern="1200" dirty="0" err="1"/>
            <a:t>emphasize</a:t>
          </a:r>
          <a:endParaRPr lang="nl-BE" sz="2500" kern="1200" dirty="0"/>
        </a:p>
        <a:p>
          <a:pPr marL="228600" lvl="1" indent="-228600" algn="l" defTabSz="1111250">
            <a:lnSpc>
              <a:spcPct val="90000"/>
            </a:lnSpc>
            <a:spcBef>
              <a:spcPct val="0"/>
            </a:spcBef>
            <a:spcAft>
              <a:spcPct val="15000"/>
            </a:spcAft>
            <a:buChar char="•"/>
          </a:pPr>
          <a:r>
            <a:rPr lang="fr-BE" sz="2500" kern="1200" dirty="0"/>
            <a:t>No </a:t>
          </a:r>
          <a:r>
            <a:rPr lang="fr-BE" sz="2500" kern="1200" dirty="0" err="1"/>
            <a:t>centering</a:t>
          </a:r>
          <a:r>
            <a:rPr lang="fr-BE" sz="2500" kern="1200" dirty="0"/>
            <a:t> / </a:t>
          </a:r>
          <a:r>
            <a:rPr lang="fr-BE" sz="2500" kern="1200" dirty="0" err="1"/>
            <a:t>capitals</a:t>
          </a:r>
          <a:r>
            <a:rPr lang="fr-BE" sz="2500" kern="1200" dirty="0"/>
            <a:t> / </a:t>
          </a:r>
          <a:r>
            <a:rPr lang="fr-BE" sz="2500" kern="1200" dirty="0" err="1"/>
            <a:t>italic</a:t>
          </a:r>
          <a:endParaRPr lang="nl-BE" sz="2500" kern="1200" dirty="0"/>
        </a:p>
      </dsp:txBody>
      <dsp:txXfrm>
        <a:off x="1227" y="574799"/>
        <a:ext cx="4788544" cy="2873126"/>
      </dsp:txXfrm>
    </dsp:sp>
    <dsp:sp modelId="{20109238-ABE7-40DA-8972-E92525CA7C0D}">
      <dsp:nvSpPr>
        <dsp:cNvPr id="0" name=""/>
        <dsp:cNvSpPr/>
      </dsp:nvSpPr>
      <dsp:spPr>
        <a:xfrm>
          <a:off x="5268627" y="574799"/>
          <a:ext cx="4788544" cy="2873126"/>
        </a:xfrm>
        <a:prstGeom prst="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fr-BE" sz="3200" kern="1200"/>
            <a:t>Minimize text</a:t>
          </a:r>
          <a:endParaRPr lang="nl-BE" sz="3200" kern="1200"/>
        </a:p>
        <a:p>
          <a:pPr marL="228600" lvl="1" indent="-228600" algn="l" defTabSz="1111250">
            <a:lnSpc>
              <a:spcPct val="90000"/>
            </a:lnSpc>
            <a:spcBef>
              <a:spcPct val="0"/>
            </a:spcBef>
            <a:spcAft>
              <a:spcPct val="15000"/>
            </a:spcAft>
            <a:buChar char="•"/>
          </a:pPr>
          <a:r>
            <a:rPr lang="fr-BE" sz="2500" kern="1200"/>
            <a:t>Simple key words</a:t>
          </a:r>
          <a:endParaRPr lang="nl-BE" sz="2500" kern="1200"/>
        </a:p>
        <a:p>
          <a:pPr marL="228600" lvl="1" indent="-228600" algn="l" defTabSz="1111250">
            <a:lnSpc>
              <a:spcPct val="90000"/>
            </a:lnSpc>
            <a:spcBef>
              <a:spcPct val="0"/>
            </a:spcBef>
            <a:spcAft>
              <a:spcPct val="15000"/>
            </a:spcAft>
            <a:buChar char="•"/>
          </a:pPr>
          <a:r>
            <a:rPr lang="fr-BE" sz="2500" kern="1200" dirty="0"/>
            <a:t>Short sentences – 1/6/6 </a:t>
          </a:r>
          <a:r>
            <a:rPr lang="fr-BE" sz="2500" kern="1200" dirty="0" err="1"/>
            <a:t>rule</a:t>
          </a:r>
          <a:endParaRPr lang="nl-BE" sz="2500" kern="1200" dirty="0"/>
        </a:p>
        <a:p>
          <a:pPr marL="228600" lvl="1" indent="-228600" algn="l" defTabSz="1111250">
            <a:lnSpc>
              <a:spcPct val="90000"/>
            </a:lnSpc>
            <a:spcBef>
              <a:spcPct val="0"/>
            </a:spcBef>
            <a:spcAft>
              <a:spcPct val="15000"/>
            </a:spcAft>
            <a:buChar char="•"/>
          </a:pPr>
          <a:r>
            <a:rPr lang="fr-BE" sz="2500" kern="1200"/>
            <a:t>Round figures</a:t>
          </a:r>
          <a:endParaRPr lang="nl-BE" sz="2500" kern="1200"/>
        </a:p>
        <a:p>
          <a:pPr marL="228600" lvl="1" indent="-228600" algn="l" defTabSz="1111250">
            <a:lnSpc>
              <a:spcPct val="90000"/>
            </a:lnSpc>
            <a:spcBef>
              <a:spcPct val="0"/>
            </a:spcBef>
            <a:spcAft>
              <a:spcPct val="15000"/>
            </a:spcAft>
            <a:buChar char="•"/>
          </a:pPr>
          <a:r>
            <a:rPr lang="fr-BE" sz="2500" kern="1200"/>
            <a:t>Use symbols to replace text</a:t>
          </a:r>
          <a:endParaRPr lang="nl-BE" sz="2500" kern="1200"/>
        </a:p>
      </dsp:txBody>
      <dsp:txXfrm>
        <a:off x="5268627" y="574799"/>
        <a:ext cx="4788544" cy="287312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C03C60-5802-4947-BAAF-0546CCF2977B}">
      <dsp:nvSpPr>
        <dsp:cNvPr id="0" name=""/>
        <dsp:cNvSpPr/>
      </dsp:nvSpPr>
      <dsp:spPr>
        <a:xfrm>
          <a:off x="3894093" y="3235638"/>
          <a:ext cx="2270212" cy="2270212"/>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lang="nl-BE" sz="3600" kern="1200" dirty="0" err="1"/>
            <a:t>Strategy</a:t>
          </a:r>
          <a:endParaRPr lang="en-GB" sz="3600" kern="1200" dirty="0"/>
        </a:p>
      </dsp:txBody>
      <dsp:txXfrm>
        <a:off x="4226558" y="3568103"/>
        <a:ext cx="1605282" cy="1605282"/>
      </dsp:txXfrm>
    </dsp:sp>
    <dsp:sp modelId="{4E146BBE-F512-47BD-9DF2-22F81A40A048}">
      <dsp:nvSpPr>
        <dsp:cNvPr id="0" name=""/>
        <dsp:cNvSpPr/>
      </dsp:nvSpPr>
      <dsp:spPr>
        <a:xfrm rot="10800000">
          <a:off x="1246434" y="4047239"/>
          <a:ext cx="2502037" cy="647010"/>
        </a:xfrm>
        <a:prstGeom prst="lef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DC52DA2-958E-400D-A4B1-1A30703D8414}">
      <dsp:nvSpPr>
        <dsp:cNvPr id="0" name=""/>
        <dsp:cNvSpPr/>
      </dsp:nvSpPr>
      <dsp:spPr>
        <a:xfrm>
          <a:off x="346436" y="3830745"/>
          <a:ext cx="1799996" cy="1079998"/>
        </a:xfrm>
        <a:prstGeom prst="roundRect">
          <a:avLst>
            <a:gd name="adj" fmla="val 1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kern="1200" dirty="0"/>
            <a:t>Use short, meaningful, compact phrases</a:t>
          </a:r>
        </a:p>
      </dsp:txBody>
      <dsp:txXfrm>
        <a:off x="378068" y="3862377"/>
        <a:ext cx="1736732" cy="1016734"/>
      </dsp:txXfrm>
    </dsp:sp>
    <dsp:sp modelId="{569B40B3-1002-47A7-A5B4-42C05F2E395E}">
      <dsp:nvSpPr>
        <dsp:cNvPr id="0" name=""/>
        <dsp:cNvSpPr/>
      </dsp:nvSpPr>
      <dsp:spPr>
        <a:xfrm rot="12600000">
          <a:off x="1585624" y="2781366"/>
          <a:ext cx="2502037" cy="647010"/>
        </a:xfrm>
        <a:prstGeom prst="lef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F6DD87-D785-4431-8D74-38F65A0AE445}">
      <dsp:nvSpPr>
        <dsp:cNvPr id="0" name=""/>
        <dsp:cNvSpPr/>
      </dsp:nvSpPr>
      <dsp:spPr>
        <a:xfrm>
          <a:off x="853230" y="1939362"/>
          <a:ext cx="1799996" cy="1079998"/>
        </a:xfrm>
        <a:prstGeom prst="roundRect">
          <a:avLst>
            <a:gd name="adj" fmla="val 10000"/>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kern="1200" dirty="0"/>
            <a:t>Develop 1 idea at the time</a:t>
          </a:r>
        </a:p>
      </dsp:txBody>
      <dsp:txXfrm>
        <a:off x="884862" y="1970994"/>
        <a:ext cx="1736732" cy="1016734"/>
      </dsp:txXfrm>
    </dsp:sp>
    <dsp:sp modelId="{17E87D54-B164-46D5-B264-0EA58C9399E1}">
      <dsp:nvSpPr>
        <dsp:cNvPr id="0" name=""/>
        <dsp:cNvSpPr/>
      </dsp:nvSpPr>
      <dsp:spPr>
        <a:xfrm rot="14400000">
          <a:off x="2512308" y="1854682"/>
          <a:ext cx="2502037" cy="647010"/>
        </a:xfrm>
        <a:prstGeom prst="lef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8963FFD-1FE2-49A7-9FB5-9F533A3CFF0D}">
      <dsp:nvSpPr>
        <dsp:cNvPr id="0" name=""/>
        <dsp:cNvSpPr/>
      </dsp:nvSpPr>
      <dsp:spPr>
        <a:xfrm>
          <a:off x="2237819" y="554774"/>
          <a:ext cx="1799996" cy="1079998"/>
        </a:xfrm>
        <a:prstGeom prst="roundRect">
          <a:avLst>
            <a:gd name="adj" fmla="val 10000"/>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kern="1200" dirty="0"/>
            <a:t>What is my main message? (title)</a:t>
          </a:r>
        </a:p>
      </dsp:txBody>
      <dsp:txXfrm>
        <a:off x="2269451" y="586406"/>
        <a:ext cx="1736732" cy="1016734"/>
      </dsp:txXfrm>
    </dsp:sp>
    <dsp:sp modelId="{9D22763C-5152-450F-AEA3-13BD21E0D8ED}">
      <dsp:nvSpPr>
        <dsp:cNvPr id="0" name=""/>
        <dsp:cNvSpPr/>
      </dsp:nvSpPr>
      <dsp:spPr>
        <a:xfrm rot="16200000">
          <a:off x="3778181" y="1515492"/>
          <a:ext cx="2502037" cy="647010"/>
        </a:xfrm>
        <a:prstGeom prst="lef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0FFC2A7-EB29-4DE1-A8ED-C99082E58A2C}">
      <dsp:nvSpPr>
        <dsp:cNvPr id="0" name=""/>
        <dsp:cNvSpPr/>
      </dsp:nvSpPr>
      <dsp:spPr>
        <a:xfrm>
          <a:off x="4129201" y="47980"/>
          <a:ext cx="1799996" cy="1079998"/>
        </a:xfrm>
        <a:prstGeom prst="roundRect">
          <a:avLst>
            <a:gd name="adj" fmla="val 10000"/>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kern="1200" dirty="0"/>
            <a:t>What, when, who, why, where, how?</a:t>
          </a:r>
        </a:p>
      </dsp:txBody>
      <dsp:txXfrm>
        <a:off x="4160833" y="79612"/>
        <a:ext cx="1736732" cy="1016734"/>
      </dsp:txXfrm>
    </dsp:sp>
    <dsp:sp modelId="{34821464-1363-498B-991E-440C86410635}">
      <dsp:nvSpPr>
        <dsp:cNvPr id="0" name=""/>
        <dsp:cNvSpPr/>
      </dsp:nvSpPr>
      <dsp:spPr>
        <a:xfrm rot="18000000">
          <a:off x="5044054" y="1854682"/>
          <a:ext cx="2502037" cy="647010"/>
        </a:xfrm>
        <a:prstGeom prst="lef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7C0285A-C1B1-4BAF-A6AE-3A620EA62B99}">
      <dsp:nvSpPr>
        <dsp:cNvPr id="0" name=""/>
        <dsp:cNvSpPr/>
      </dsp:nvSpPr>
      <dsp:spPr>
        <a:xfrm>
          <a:off x="6020584" y="554774"/>
          <a:ext cx="1799996" cy="1079998"/>
        </a:xfrm>
        <a:prstGeom prst="roundRect">
          <a:avLst>
            <a:gd name="adj" fmla="val 10000"/>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kern="1200" dirty="0"/>
            <a:t>Use a built-up structure - consider overall curve</a:t>
          </a:r>
        </a:p>
      </dsp:txBody>
      <dsp:txXfrm>
        <a:off x="6052216" y="586406"/>
        <a:ext cx="1736732" cy="1016734"/>
      </dsp:txXfrm>
    </dsp:sp>
    <dsp:sp modelId="{10CE5B70-622F-4DFA-8941-2DB61B328157}">
      <dsp:nvSpPr>
        <dsp:cNvPr id="0" name=""/>
        <dsp:cNvSpPr/>
      </dsp:nvSpPr>
      <dsp:spPr>
        <a:xfrm rot="19800000">
          <a:off x="5970737" y="2781366"/>
          <a:ext cx="2502037" cy="647010"/>
        </a:xfrm>
        <a:prstGeom prst="lef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48FB0E1-5A8A-4E09-9509-3DB06E47AF2D}">
      <dsp:nvSpPr>
        <dsp:cNvPr id="0" name=""/>
        <dsp:cNvSpPr/>
      </dsp:nvSpPr>
      <dsp:spPr>
        <a:xfrm>
          <a:off x="7405172" y="1939362"/>
          <a:ext cx="1799996" cy="1079998"/>
        </a:xfrm>
        <a:prstGeom prst="roundRect">
          <a:avLst>
            <a:gd name="adj" fmla="val 1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kern="1200" dirty="0"/>
            <a:t>Tailor the objectives - empathize </a:t>
          </a:r>
        </a:p>
      </dsp:txBody>
      <dsp:txXfrm>
        <a:off x="7436804" y="1970994"/>
        <a:ext cx="1736732" cy="1016734"/>
      </dsp:txXfrm>
    </dsp:sp>
    <dsp:sp modelId="{018DBB38-7F49-4F66-B28B-533F1C50174C}">
      <dsp:nvSpPr>
        <dsp:cNvPr id="0" name=""/>
        <dsp:cNvSpPr/>
      </dsp:nvSpPr>
      <dsp:spPr>
        <a:xfrm>
          <a:off x="6309927" y="4047239"/>
          <a:ext cx="2502037" cy="647010"/>
        </a:xfrm>
        <a:prstGeom prst="lef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877271A-F4BF-455C-B294-FF76AFB6B556}">
      <dsp:nvSpPr>
        <dsp:cNvPr id="0" name=""/>
        <dsp:cNvSpPr/>
      </dsp:nvSpPr>
      <dsp:spPr>
        <a:xfrm>
          <a:off x="7911966" y="3830745"/>
          <a:ext cx="1799996" cy="1079998"/>
        </a:xfrm>
        <a:prstGeom prst="roundRect">
          <a:avLst>
            <a:gd name="adj" fmla="val 10000"/>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GB" sz="1800" kern="1200" dirty="0"/>
            <a:t>Use paper hand-outs with strategic</a:t>
          </a:r>
        </a:p>
      </dsp:txBody>
      <dsp:txXfrm>
        <a:off x="7943598" y="3862377"/>
        <a:ext cx="1736732" cy="10167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DDC629-186F-4452-A961-79B9B9FFAC9A}">
      <dsp:nvSpPr>
        <dsp:cNvPr id="0" name=""/>
        <dsp:cNvSpPr/>
      </dsp:nvSpPr>
      <dsp:spPr>
        <a:xfrm>
          <a:off x="2217962" y="226784"/>
          <a:ext cx="4500797" cy="1563067"/>
        </a:xfrm>
        <a:prstGeom prst="ellipse">
          <a:avLst/>
        </a:prstGeom>
        <a:solidFill>
          <a:schemeClr val="accent5">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E5AAC0-CECA-4735-8D23-D5326EF660EE}">
      <dsp:nvSpPr>
        <dsp:cNvPr id="0" name=""/>
        <dsp:cNvSpPr/>
      </dsp:nvSpPr>
      <dsp:spPr>
        <a:xfrm>
          <a:off x="4039215" y="4054206"/>
          <a:ext cx="872247" cy="558238"/>
        </a:xfrm>
        <a:prstGeom prst="downArrow">
          <a:avLst/>
        </a:prstGeom>
        <a:solidFill>
          <a:schemeClr val="accent5">
            <a:tint val="4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76F1970-A140-4F89-BBAB-7B985A3F6BBD}">
      <dsp:nvSpPr>
        <dsp:cNvPr id="0" name=""/>
        <dsp:cNvSpPr/>
      </dsp:nvSpPr>
      <dsp:spPr>
        <a:xfrm>
          <a:off x="2381945" y="4500797"/>
          <a:ext cx="4186788" cy="10466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3144" tIns="263144" rIns="263144" bIns="263144" numCol="1" spcCol="1270" anchor="ctr" anchorCtr="0">
          <a:noAutofit/>
        </a:bodyPr>
        <a:lstStyle/>
        <a:p>
          <a:pPr marL="0" lvl="0" indent="0" algn="ctr" defTabSz="1644650">
            <a:lnSpc>
              <a:spcPct val="90000"/>
            </a:lnSpc>
            <a:spcBef>
              <a:spcPct val="0"/>
            </a:spcBef>
            <a:spcAft>
              <a:spcPct val="35000"/>
            </a:spcAft>
            <a:buNone/>
          </a:pPr>
          <a:r>
            <a:rPr lang="en-GB" sz="3700" kern="1200" dirty="0"/>
            <a:t>Slide</a:t>
          </a:r>
        </a:p>
      </dsp:txBody>
      <dsp:txXfrm>
        <a:off x="2381945" y="4500797"/>
        <a:ext cx="4186788" cy="1046697"/>
      </dsp:txXfrm>
    </dsp:sp>
    <dsp:sp modelId="{5B8E9865-70F4-44FC-8353-C560E4784ADD}">
      <dsp:nvSpPr>
        <dsp:cNvPr id="0" name=""/>
        <dsp:cNvSpPr/>
      </dsp:nvSpPr>
      <dsp:spPr>
        <a:xfrm>
          <a:off x="3854299" y="1910570"/>
          <a:ext cx="1570045" cy="1570045"/>
        </a:xfrm>
        <a:prstGeom prst="ellipse">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GB" sz="2500" kern="1200" dirty="0"/>
            <a:t>Layouts</a:t>
          </a:r>
        </a:p>
      </dsp:txBody>
      <dsp:txXfrm>
        <a:off x="4084227" y="2140498"/>
        <a:ext cx="1110189" cy="1110189"/>
      </dsp:txXfrm>
    </dsp:sp>
    <dsp:sp modelId="{C603E053-C3A5-4406-B486-F3180B500641}">
      <dsp:nvSpPr>
        <dsp:cNvPr id="0" name=""/>
        <dsp:cNvSpPr/>
      </dsp:nvSpPr>
      <dsp:spPr>
        <a:xfrm>
          <a:off x="2730844" y="732687"/>
          <a:ext cx="1570045" cy="1570045"/>
        </a:xfrm>
        <a:prstGeom prst="ellipse">
          <a:avLst/>
        </a:prstGeom>
        <a:solidFill>
          <a:schemeClr val="accent5">
            <a:hueOff val="-419932"/>
            <a:satOff val="22824"/>
            <a:lumOff val="-421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GB" sz="2500" kern="1200" dirty="0"/>
            <a:t>Master layer</a:t>
          </a:r>
        </a:p>
      </dsp:txBody>
      <dsp:txXfrm>
        <a:off x="2960772" y="962615"/>
        <a:ext cx="1110189" cy="1110189"/>
      </dsp:txXfrm>
    </dsp:sp>
    <dsp:sp modelId="{C9F5E058-79C9-43E7-8C69-1A2F78EDFDB9}">
      <dsp:nvSpPr>
        <dsp:cNvPr id="0" name=""/>
        <dsp:cNvSpPr/>
      </dsp:nvSpPr>
      <dsp:spPr>
        <a:xfrm>
          <a:off x="4335779" y="353085"/>
          <a:ext cx="1570045" cy="1570045"/>
        </a:xfrm>
        <a:prstGeom prst="ellipse">
          <a:avLst/>
        </a:prstGeom>
        <a:solidFill>
          <a:schemeClr val="accent5">
            <a:hueOff val="-839865"/>
            <a:satOff val="45647"/>
            <a:lumOff val="-8432"/>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GB" sz="2500" kern="1200" dirty="0"/>
            <a:t>Content layer</a:t>
          </a:r>
          <a:endParaRPr lang="nl-BE" sz="2500" kern="1200" dirty="0"/>
        </a:p>
      </dsp:txBody>
      <dsp:txXfrm>
        <a:off x="4565707" y="583013"/>
        <a:ext cx="1110189" cy="1110189"/>
      </dsp:txXfrm>
    </dsp:sp>
    <dsp:sp modelId="{A3C4F229-080B-4778-8A57-402FA7243795}">
      <dsp:nvSpPr>
        <dsp:cNvPr id="0" name=""/>
        <dsp:cNvSpPr/>
      </dsp:nvSpPr>
      <dsp:spPr>
        <a:xfrm>
          <a:off x="2033046" y="21486"/>
          <a:ext cx="4884586" cy="3907668"/>
        </a:xfrm>
        <a:prstGeom prst="funnel">
          <a:avLst/>
        </a:prstGeom>
        <a:solidFill>
          <a:schemeClr val="lt1">
            <a:alpha val="40000"/>
            <a:hueOff val="0"/>
            <a:satOff val="0"/>
            <a:lumOff val="0"/>
            <a:alphaOff val="0"/>
          </a:schemeClr>
        </a:solidFill>
        <a:ln w="12700" cap="flat" cmpd="sng" algn="ctr">
          <a:solidFill>
            <a:schemeClr val="accent5">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54E01B-6B67-440D-AB14-BB3E51704CB7}">
      <dsp:nvSpPr>
        <dsp:cNvPr id="0" name=""/>
        <dsp:cNvSpPr/>
      </dsp:nvSpPr>
      <dsp:spPr>
        <a:xfrm>
          <a:off x="2543020" y="1746010"/>
          <a:ext cx="2134012" cy="2134012"/>
        </a:xfrm>
        <a:prstGeom prst="gear9">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dirty="0"/>
            <a:t>Master layer</a:t>
          </a:r>
        </a:p>
      </dsp:txBody>
      <dsp:txXfrm>
        <a:off x="2972051" y="2245892"/>
        <a:ext cx="1275950" cy="1096926"/>
      </dsp:txXfrm>
    </dsp:sp>
    <dsp:sp modelId="{6252BC02-3D29-41E9-A6F1-1307A321226F}">
      <dsp:nvSpPr>
        <dsp:cNvPr id="0" name=""/>
        <dsp:cNvSpPr/>
      </dsp:nvSpPr>
      <dsp:spPr>
        <a:xfrm>
          <a:off x="1301412" y="1241607"/>
          <a:ext cx="1552009" cy="1552009"/>
        </a:xfrm>
        <a:prstGeom prst="gear6">
          <a:avLst/>
        </a:prstGeom>
        <a:solidFill>
          <a:schemeClr val="accent5">
            <a:hueOff val="-419932"/>
            <a:satOff val="22824"/>
            <a:lumOff val="-421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dirty="0"/>
            <a:t>Layouts</a:t>
          </a:r>
        </a:p>
      </dsp:txBody>
      <dsp:txXfrm>
        <a:off x="1692135" y="1634691"/>
        <a:ext cx="770563" cy="765841"/>
      </dsp:txXfrm>
    </dsp:sp>
    <dsp:sp modelId="{C9AA18E1-F472-4FDD-8C43-40E2E54F1559}">
      <dsp:nvSpPr>
        <dsp:cNvPr id="0" name=""/>
        <dsp:cNvSpPr/>
      </dsp:nvSpPr>
      <dsp:spPr>
        <a:xfrm rot="20700000">
          <a:off x="2170696" y="170879"/>
          <a:ext cx="1520652" cy="1520652"/>
        </a:xfrm>
        <a:prstGeom prst="gear6">
          <a:avLst/>
        </a:prstGeom>
        <a:solidFill>
          <a:schemeClr val="accent5">
            <a:hueOff val="-839865"/>
            <a:satOff val="45647"/>
            <a:lumOff val="-8432"/>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GB" sz="1800" kern="1200" dirty="0"/>
            <a:t>Content layer</a:t>
          </a:r>
        </a:p>
      </dsp:txBody>
      <dsp:txXfrm rot="-20700000">
        <a:off x="2504220" y="504402"/>
        <a:ext cx="853605" cy="853605"/>
      </dsp:txXfrm>
    </dsp:sp>
    <dsp:sp modelId="{28C2F5C5-78AF-4739-BB41-A494F5841A80}">
      <dsp:nvSpPr>
        <dsp:cNvPr id="0" name=""/>
        <dsp:cNvSpPr/>
      </dsp:nvSpPr>
      <dsp:spPr>
        <a:xfrm>
          <a:off x="2375512" y="1425930"/>
          <a:ext cx="2731536" cy="2731536"/>
        </a:xfrm>
        <a:prstGeom prst="circularArrow">
          <a:avLst>
            <a:gd name="adj1" fmla="val 4687"/>
            <a:gd name="adj2" fmla="val 299029"/>
            <a:gd name="adj3" fmla="val 2508306"/>
            <a:gd name="adj4" fmla="val 15878313"/>
            <a:gd name="adj5" fmla="val 5469"/>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AFE3138-6BBA-4842-9A2B-EA65C606D96E}">
      <dsp:nvSpPr>
        <dsp:cNvPr id="0" name=""/>
        <dsp:cNvSpPr/>
      </dsp:nvSpPr>
      <dsp:spPr>
        <a:xfrm>
          <a:off x="1026555" y="899555"/>
          <a:ext cx="1984631" cy="1984631"/>
        </a:xfrm>
        <a:prstGeom prst="leftCircularArrow">
          <a:avLst>
            <a:gd name="adj1" fmla="val 6452"/>
            <a:gd name="adj2" fmla="val 429999"/>
            <a:gd name="adj3" fmla="val 10489124"/>
            <a:gd name="adj4" fmla="val 14837806"/>
            <a:gd name="adj5" fmla="val 7527"/>
          </a:avLst>
        </a:prstGeom>
        <a:solidFill>
          <a:schemeClr val="accent5">
            <a:hueOff val="-419932"/>
            <a:satOff val="22824"/>
            <a:lumOff val="-421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C333FEB-0488-4C7D-825E-73961F789E08}">
      <dsp:nvSpPr>
        <dsp:cNvPr id="0" name=""/>
        <dsp:cNvSpPr/>
      </dsp:nvSpPr>
      <dsp:spPr>
        <a:xfrm>
          <a:off x="1818953" y="-160851"/>
          <a:ext cx="2139832" cy="2139832"/>
        </a:xfrm>
        <a:prstGeom prst="circularArrow">
          <a:avLst>
            <a:gd name="adj1" fmla="val 5984"/>
            <a:gd name="adj2" fmla="val 394124"/>
            <a:gd name="adj3" fmla="val 13313824"/>
            <a:gd name="adj4" fmla="val 10508221"/>
            <a:gd name="adj5" fmla="val 6981"/>
          </a:avLst>
        </a:prstGeom>
        <a:solidFill>
          <a:schemeClr val="accent5">
            <a:hueOff val="-839865"/>
            <a:satOff val="45647"/>
            <a:lumOff val="-8432"/>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DB0E43-89C1-4008-98DC-5C5C36E53236}">
      <dsp:nvSpPr>
        <dsp:cNvPr id="0" name=""/>
        <dsp:cNvSpPr/>
      </dsp:nvSpPr>
      <dsp:spPr>
        <a:xfrm>
          <a:off x="2269527" y="1367940"/>
          <a:ext cx="3165903" cy="1952863"/>
        </a:xfrm>
        <a:prstGeom prst="rect">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21572" t="3914" r="21572" b="3914"/>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659E18-AEA9-4D6B-BE1F-DC2B4C21C897}">
      <dsp:nvSpPr>
        <dsp:cNvPr id="0" name=""/>
        <dsp:cNvSpPr/>
      </dsp:nvSpPr>
      <dsp:spPr>
        <a:xfrm>
          <a:off x="2424619" y="1515459"/>
          <a:ext cx="2860776" cy="1646118"/>
        </a:xfrm>
        <a:prstGeom prst="rect">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1C1B24E-AC36-47CC-ACA6-C4E8FAEB9C8C}">
      <dsp:nvSpPr>
        <dsp:cNvPr id="0" name=""/>
        <dsp:cNvSpPr/>
      </dsp:nvSpPr>
      <dsp:spPr>
        <a:xfrm>
          <a:off x="2424619" y="2667039"/>
          <a:ext cx="2860776" cy="497816"/>
        </a:xfrm>
        <a:prstGeom prst="rect">
          <a:avLst/>
        </a:prstGeom>
        <a:noFill/>
        <a:ln w="1587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34290" tIns="11430" rIns="34290" bIns="0" numCol="1" spcCol="1270" anchor="b" anchorCtr="0">
          <a:noAutofit/>
        </a:bodyPr>
        <a:lstStyle/>
        <a:p>
          <a:pPr marL="0" lvl="0" indent="0" algn="r" defTabSz="800100">
            <a:lnSpc>
              <a:spcPct val="100000"/>
            </a:lnSpc>
            <a:spcBef>
              <a:spcPct val="0"/>
            </a:spcBef>
            <a:spcAft>
              <a:spcPct val="35000"/>
            </a:spcAft>
            <a:buNone/>
          </a:pPr>
          <a:r>
            <a:rPr lang="en-GB" sz="1800" b="1" kern="1200">
              <a:solidFill>
                <a:schemeClr val="accent3">
                  <a:lumMod val="50000"/>
                </a:schemeClr>
              </a:solidFill>
            </a:rPr>
            <a:t>Objects &amp; manipulations</a:t>
          </a:r>
        </a:p>
      </dsp:txBody>
      <dsp:txXfrm>
        <a:off x="2424619" y="2667039"/>
        <a:ext cx="2860776" cy="497816"/>
      </dsp:txXfrm>
    </dsp:sp>
    <dsp:sp modelId="{8C8F7819-F9EE-493D-8136-16028691AC70}">
      <dsp:nvSpPr>
        <dsp:cNvPr id="0" name=""/>
        <dsp:cNvSpPr/>
      </dsp:nvSpPr>
      <dsp:spPr>
        <a:xfrm>
          <a:off x="4205932" y="0"/>
          <a:ext cx="1239051" cy="1263975"/>
        </a:xfrm>
        <a:prstGeom prst="rect">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6419" t="7278" r="6419" b="7278"/>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C26E03-23ED-4454-8BDE-0F5E797D988A}">
      <dsp:nvSpPr>
        <dsp:cNvPr id="0" name=""/>
        <dsp:cNvSpPr/>
      </dsp:nvSpPr>
      <dsp:spPr>
        <a:xfrm>
          <a:off x="4282354" y="76803"/>
          <a:ext cx="1085645" cy="1110368"/>
        </a:xfrm>
        <a:prstGeom prst="rect">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FE94DA-A155-4151-AD91-382D7821D475}">
      <dsp:nvSpPr>
        <dsp:cNvPr id="0" name=""/>
        <dsp:cNvSpPr/>
      </dsp:nvSpPr>
      <dsp:spPr>
        <a:xfrm>
          <a:off x="4281230" y="855138"/>
          <a:ext cx="1085645" cy="332033"/>
        </a:xfrm>
        <a:prstGeom prst="rect">
          <a:avLst/>
        </a:prstGeom>
        <a:noFill/>
        <a:ln w="1587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34290" tIns="11430" rIns="34290" bIns="0" numCol="1" spcCol="1270" anchor="b" anchorCtr="0">
          <a:noAutofit/>
        </a:bodyPr>
        <a:lstStyle/>
        <a:p>
          <a:pPr marL="0" lvl="0" indent="0" algn="r" defTabSz="800100">
            <a:lnSpc>
              <a:spcPct val="90000"/>
            </a:lnSpc>
            <a:spcBef>
              <a:spcPct val="0"/>
            </a:spcBef>
            <a:spcAft>
              <a:spcPct val="35000"/>
            </a:spcAft>
            <a:buNone/>
          </a:pPr>
          <a:r>
            <a:rPr lang="en-GB" sz="1800" b="1" kern="1200" dirty="0">
              <a:solidFill>
                <a:schemeClr val="accent3">
                  <a:lumMod val="50000"/>
                </a:schemeClr>
              </a:solidFill>
            </a:rPr>
            <a:t>Text </a:t>
          </a:r>
        </a:p>
      </dsp:txBody>
      <dsp:txXfrm>
        <a:off x="4281230" y="855138"/>
        <a:ext cx="1085645" cy="332033"/>
      </dsp:txXfrm>
    </dsp:sp>
    <dsp:sp modelId="{74DDA69E-343C-4080-84E1-19E1025356D1}">
      <dsp:nvSpPr>
        <dsp:cNvPr id="0" name=""/>
        <dsp:cNvSpPr/>
      </dsp:nvSpPr>
      <dsp:spPr>
        <a:xfrm>
          <a:off x="5539949" y="2124265"/>
          <a:ext cx="1507091" cy="931473"/>
        </a:xfrm>
        <a:prstGeom prst="rect">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14170" t="-7972" r="14170" b="-7972"/>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17D4DE-9598-4E95-A599-FE3EDE208FD8}">
      <dsp:nvSpPr>
        <dsp:cNvPr id="0" name=""/>
        <dsp:cNvSpPr/>
      </dsp:nvSpPr>
      <dsp:spPr>
        <a:xfrm>
          <a:off x="5616933" y="2201537"/>
          <a:ext cx="1353684" cy="778335"/>
        </a:xfrm>
        <a:prstGeom prst="rect">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0B819AE-549D-4EDE-A44C-556AFF712420}">
      <dsp:nvSpPr>
        <dsp:cNvPr id="0" name=""/>
        <dsp:cNvSpPr/>
      </dsp:nvSpPr>
      <dsp:spPr>
        <a:xfrm>
          <a:off x="5616933" y="2648307"/>
          <a:ext cx="1353684" cy="332033"/>
        </a:xfrm>
        <a:prstGeom prst="rect">
          <a:avLst/>
        </a:prstGeom>
        <a:noFill/>
        <a:ln w="1587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34290" tIns="11430" rIns="34290" bIns="0" numCol="1" spcCol="1270" anchor="b" anchorCtr="0">
          <a:noAutofit/>
        </a:bodyPr>
        <a:lstStyle/>
        <a:p>
          <a:pPr marL="0" lvl="0" indent="0" algn="r" defTabSz="800100">
            <a:lnSpc>
              <a:spcPct val="90000"/>
            </a:lnSpc>
            <a:spcBef>
              <a:spcPct val="0"/>
            </a:spcBef>
            <a:spcAft>
              <a:spcPct val="35000"/>
            </a:spcAft>
            <a:buNone/>
          </a:pPr>
          <a:r>
            <a:rPr lang="en-GB" sz="1800" b="1" kern="1200">
              <a:solidFill>
                <a:schemeClr val="accent3">
                  <a:lumMod val="50000"/>
                </a:schemeClr>
              </a:solidFill>
            </a:rPr>
            <a:t>Images</a:t>
          </a:r>
        </a:p>
      </dsp:txBody>
      <dsp:txXfrm>
        <a:off x="5616933" y="2648307"/>
        <a:ext cx="1353684" cy="332033"/>
      </dsp:txXfrm>
    </dsp:sp>
    <dsp:sp modelId="{62FCB4C1-7641-49E5-97DC-6EB0182E9D16}">
      <dsp:nvSpPr>
        <dsp:cNvPr id="0" name=""/>
        <dsp:cNvSpPr/>
      </dsp:nvSpPr>
      <dsp:spPr>
        <a:xfrm>
          <a:off x="1427759" y="2524204"/>
          <a:ext cx="739497" cy="75117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1000" r="-1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A2C7A1C-C4DE-446D-9DFC-4E39A332372B}">
      <dsp:nvSpPr>
        <dsp:cNvPr id="0" name=""/>
        <dsp:cNvSpPr/>
      </dsp:nvSpPr>
      <dsp:spPr>
        <a:xfrm>
          <a:off x="1328765" y="2580528"/>
          <a:ext cx="778312" cy="599908"/>
        </a:xfrm>
        <a:prstGeom prst="rect">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1CA7581-11C0-414F-B6EF-47C797527082}">
      <dsp:nvSpPr>
        <dsp:cNvPr id="0" name=""/>
        <dsp:cNvSpPr/>
      </dsp:nvSpPr>
      <dsp:spPr>
        <a:xfrm>
          <a:off x="893049" y="2871692"/>
          <a:ext cx="1398734" cy="332033"/>
        </a:xfrm>
        <a:prstGeom prst="rect">
          <a:avLst/>
        </a:prstGeom>
        <a:noFill/>
        <a:ln w="1587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34290" tIns="11430" rIns="34290" bIns="0" numCol="1" spcCol="1270" anchor="b" anchorCtr="0">
          <a:noAutofit/>
        </a:bodyPr>
        <a:lstStyle/>
        <a:p>
          <a:pPr marL="0" lvl="0" indent="0" algn="r" defTabSz="800100">
            <a:lnSpc>
              <a:spcPct val="90000"/>
            </a:lnSpc>
            <a:spcBef>
              <a:spcPct val="0"/>
            </a:spcBef>
            <a:spcAft>
              <a:spcPct val="35000"/>
            </a:spcAft>
            <a:buNone/>
          </a:pPr>
          <a:r>
            <a:rPr lang="en-GB" sz="1800" b="1" kern="1200" dirty="0">
              <a:solidFill>
                <a:schemeClr val="accent3">
                  <a:lumMod val="50000"/>
                </a:schemeClr>
              </a:solidFill>
            </a:rPr>
            <a:t>Shapes</a:t>
          </a:r>
        </a:p>
      </dsp:txBody>
      <dsp:txXfrm>
        <a:off x="893049" y="2871692"/>
        <a:ext cx="1398734" cy="332033"/>
      </dsp:txXfrm>
    </dsp:sp>
    <dsp:sp modelId="{3E45351A-6575-4A0C-AEA2-1CF534B43938}">
      <dsp:nvSpPr>
        <dsp:cNvPr id="0" name=""/>
        <dsp:cNvSpPr/>
      </dsp:nvSpPr>
      <dsp:spPr>
        <a:xfrm>
          <a:off x="4960601" y="3419149"/>
          <a:ext cx="1302549" cy="1263975"/>
        </a:xfrm>
        <a:prstGeom prst="rect">
          <a:avLst/>
        </a:prstGeom>
        <a:blipFill dpi="0" rotWithShape="1">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8543" t="7278" r="8543" b="7278"/>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63A562-C11A-4EF1-8877-4F38038D3BF9}">
      <dsp:nvSpPr>
        <dsp:cNvPr id="0" name=""/>
        <dsp:cNvSpPr/>
      </dsp:nvSpPr>
      <dsp:spPr>
        <a:xfrm>
          <a:off x="5035338" y="3496889"/>
          <a:ext cx="1149143" cy="1110368"/>
        </a:xfrm>
        <a:prstGeom prst="rect">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0722C13-75B5-4022-98A4-2D1BC362EB8C}">
      <dsp:nvSpPr>
        <dsp:cNvPr id="0" name=""/>
        <dsp:cNvSpPr/>
      </dsp:nvSpPr>
      <dsp:spPr>
        <a:xfrm>
          <a:off x="5035338" y="4275224"/>
          <a:ext cx="1149143" cy="332033"/>
        </a:xfrm>
        <a:prstGeom prst="rect">
          <a:avLst/>
        </a:prstGeom>
        <a:noFill/>
        <a:ln w="1587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34290" tIns="11430" rIns="34290" bIns="0" numCol="1" spcCol="1270" anchor="b" anchorCtr="0">
          <a:noAutofit/>
        </a:bodyPr>
        <a:lstStyle/>
        <a:p>
          <a:pPr marL="0" lvl="0" indent="0" algn="r" defTabSz="800100">
            <a:lnSpc>
              <a:spcPct val="90000"/>
            </a:lnSpc>
            <a:spcBef>
              <a:spcPct val="0"/>
            </a:spcBef>
            <a:spcAft>
              <a:spcPct val="35000"/>
            </a:spcAft>
            <a:buNone/>
          </a:pPr>
          <a:r>
            <a:rPr lang="en-GB" sz="1800" b="1" kern="1200">
              <a:solidFill>
                <a:schemeClr val="accent3">
                  <a:lumMod val="50000"/>
                </a:schemeClr>
              </a:solidFill>
            </a:rPr>
            <a:t>Smart-Arts</a:t>
          </a:r>
        </a:p>
      </dsp:txBody>
      <dsp:txXfrm>
        <a:off x="5035338" y="4275224"/>
        <a:ext cx="1149143" cy="332033"/>
      </dsp:txXfrm>
    </dsp:sp>
    <dsp:sp modelId="{9AD27556-93BE-46DA-A7B4-C79E5C57812B}">
      <dsp:nvSpPr>
        <dsp:cNvPr id="0" name=""/>
        <dsp:cNvSpPr/>
      </dsp:nvSpPr>
      <dsp:spPr>
        <a:xfrm>
          <a:off x="2276270" y="3419149"/>
          <a:ext cx="1326712" cy="751173"/>
        </a:xfrm>
        <a:prstGeom prst="rect">
          <a:avLst/>
        </a:prstGeom>
        <a:blipFill dpi="0" rotWithShape="1">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l="22865" t="2075" r="22865" b="2075"/>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B99910D-3AD5-4323-803F-64431198960F}">
      <dsp:nvSpPr>
        <dsp:cNvPr id="0" name=""/>
        <dsp:cNvSpPr/>
      </dsp:nvSpPr>
      <dsp:spPr>
        <a:xfrm>
          <a:off x="2353816" y="3496889"/>
          <a:ext cx="1174991" cy="599908"/>
        </a:xfrm>
        <a:prstGeom prst="rect">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764810-C8EA-41A5-AD81-A021FF4F5162}">
      <dsp:nvSpPr>
        <dsp:cNvPr id="0" name=""/>
        <dsp:cNvSpPr/>
      </dsp:nvSpPr>
      <dsp:spPr>
        <a:xfrm>
          <a:off x="2353816" y="3764764"/>
          <a:ext cx="1174991" cy="332033"/>
        </a:xfrm>
        <a:prstGeom prst="rect">
          <a:avLst/>
        </a:prstGeom>
        <a:noFill/>
        <a:ln w="15875"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34290" tIns="11430" rIns="34290" bIns="0" numCol="1" spcCol="1270" anchor="b" anchorCtr="0">
          <a:noAutofit/>
        </a:bodyPr>
        <a:lstStyle/>
        <a:p>
          <a:pPr marL="0" lvl="0" indent="0" algn="r" defTabSz="800100">
            <a:lnSpc>
              <a:spcPct val="90000"/>
            </a:lnSpc>
            <a:spcBef>
              <a:spcPct val="0"/>
            </a:spcBef>
            <a:spcAft>
              <a:spcPct val="35000"/>
            </a:spcAft>
            <a:buNone/>
          </a:pPr>
          <a:r>
            <a:rPr lang="en-GB" sz="1800" b="1" kern="1200" dirty="0">
              <a:solidFill>
                <a:schemeClr val="accent3">
                  <a:lumMod val="50000"/>
                </a:schemeClr>
              </a:solidFill>
            </a:rPr>
            <a:t>Charts</a:t>
          </a:r>
        </a:p>
      </dsp:txBody>
      <dsp:txXfrm>
        <a:off x="2353816" y="3764764"/>
        <a:ext cx="1174991" cy="33203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8C62FC-CDDA-4DBA-B8A7-644A27B5778E}">
      <dsp:nvSpPr>
        <dsp:cNvPr id="0" name=""/>
        <dsp:cNvSpPr/>
      </dsp:nvSpPr>
      <dsp:spPr>
        <a:xfrm rot="2684584">
          <a:off x="1688965" y="4060826"/>
          <a:ext cx="526324" cy="65214"/>
        </a:xfrm>
        <a:custGeom>
          <a:avLst/>
          <a:gdLst/>
          <a:ahLst/>
          <a:cxnLst/>
          <a:rect l="0" t="0" r="0" b="0"/>
          <a:pathLst>
            <a:path>
              <a:moveTo>
                <a:pt x="0" y="32607"/>
              </a:moveTo>
              <a:lnTo>
                <a:pt x="526324" y="32607"/>
              </a:lnTo>
            </a:path>
          </a:pathLst>
        </a:custGeom>
        <a:noFill/>
        <a:ln w="1587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DD9F12-A68D-4494-8792-40297B99F5EB}">
      <dsp:nvSpPr>
        <dsp:cNvPr id="0" name=""/>
        <dsp:cNvSpPr/>
      </dsp:nvSpPr>
      <dsp:spPr>
        <a:xfrm>
          <a:off x="1765211" y="2915297"/>
          <a:ext cx="1002228" cy="65214"/>
        </a:xfrm>
        <a:custGeom>
          <a:avLst/>
          <a:gdLst/>
          <a:ahLst/>
          <a:cxnLst/>
          <a:rect l="0" t="0" r="0" b="0"/>
          <a:pathLst>
            <a:path>
              <a:moveTo>
                <a:pt x="0" y="32607"/>
              </a:moveTo>
              <a:lnTo>
                <a:pt x="1002228" y="32607"/>
              </a:lnTo>
            </a:path>
          </a:pathLst>
        </a:custGeom>
        <a:noFill/>
        <a:ln w="1587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7B88CC0-3A10-4F28-9228-B58D7C9AC25C}">
      <dsp:nvSpPr>
        <dsp:cNvPr id="0" name=""/>
        <dsp:cNvSpPr/>
      </dsp:nvSpPr>
      <dsp:spPr>
        <a:xfrm rot="18915416">
          <a:off x="1688965" y="1769767"/>
          <a:ext cx="526324" cy="65214"/>
        </a:xfrm>
        <a:custGeom>
          <a:avLst/>
          <a:gdLst/>
          <a:ahLst/>
          <a:cxnLst/>
          <a:rect l="0" t="0" r="0" b="0"/>
          <a:pathLst>
            <a:path>
              <a:moveTo>
                <a:pt x="0" y="32607"/>
              </a:moveTo>
              <a:lnTo>
                <a:pt x="526324" y="32607"/>
              </a:lnTo>
            </a:path>
          </a:pathLst>
        </a:custGeom>
        <a:noFill/>
        <a:ln w="15875" cap="flat" cmpd="sng" algn="ctr">
          <a:solidFill>
            <a:schemeClr val="accent1">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DEEBB7-3AAC-42B0-8B81-B6D33C2101F5}">
      <dsp:nvSpPr>
        <dsp:cNvPr id="0" name=""/>
        <dsp:cNvSpPr/>
      </dsp:nvSpPr>
      <dsp:spPr>
        <a:xfrm>
          <a:off x="-173844" y="1802861"/>
          <a:ext cx="1940246" cy="2290086"/>
        </a:xfrm>
        <a:prstGeom prst="ellipse">
          <a:avLst/>
        </a:prstGeom>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708941-633D-4987-A2A0-62B58013872E}">
      <dsp:nvSpPr>
        <dsp:cNvPr id="0" name=""/>
        <dsp:cNvSpPr/>
      </dsp:nvSpPr>
      <dsp:spPr>
        <a:xfrm>
          <a:off x="1423199" y="68780"/>
          <a:ext cx="2880288" cy="1661027"/>
        </a:xfrm>
        <a:prstGeom prst="ellipse">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GB" sz="2400" kern="1200" dirty="0"/>
            <a:t>Slide transitions</a:t>
          </a:r>
          <a:endParaRPr lang="nl-BE" sz="2400" kern="1200" dirty="0"/>
        </a:p>
      </dsp:txBody>
      <dsp:txXfrm>
        <a:off x="1845007" y="312032"/>
        <a:ext cx="2036672" cy="1174523"/>
      </dsp:txXfrm>
    </dsp:sp>
    <dsp:sp modelId="{82243880-5D0F-447B-9575-62EC19D99A09}">
      <dsp:nvSpPr>
        <dsp:cNvPr id="0" name=""/>
        <dsp:cNvSpPr/>
      </dsp:nvSpPr>
      <dsp:spPr>
        <a:xfrm>
          <a:off x="2767439" y="2117390"/>
          <a:ext cx="2880288" cy="1661027"/>
        </a:xfrm>
        <a:prstGeom prst="ellipse">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GB" sz="2400" kern="1200" dirty="0"/>
            <a:t>Animating objects</a:t>
          </a:r>
          <a:endParaRPr lang="nl-BE" sz="2400" kern="1200" dirty="0"/>
        </a:p>
      </dsp:txBody>
      <dsp:txXfrm>
        <a:off x="3189247" y="2360642"/>
        <a:ext cx="2036672" cy="1174523"/>
      </dsp:txXfrm>
    </dsp:sp>
    <dsp:sp modelId="{452EF661-0FD4-42A4-AC22-F980FFFD3301}">
      <dsp:nvSpPr>
        <dsp:cNvPr id="0" name=""/>
        <dsp:cNvSpPr/>
      </dsp:nvSpPr>
      <dsp:spPr>
        <a:xfrm>
          <a:off x="1423199" y="4166000"/>
          <a:ext cx="2880288" cy="1661027"/>
        </a:xfrm>
        <a:prstGeom prst="ellipse">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GB" sz="2400" kern="1200" dirty="0">
              <a:hlinkClick xmlns:r="http://schemas.openxmlformats.org/officeDocument/2006/relationships" r:id="rId3"/>
            </a:rPr>
            <a:t>Links and action buttons</a:t>
          </a:r>
          <a:endParaRPr lang="nl-BE" sz="2400" kern="1200" dirty="0"/>
        </a:p>
      </dsp:txBody>
      <dsp:txXfrm>
        <a:off x="1845007" y="4409252"/>
        <a:ext cx="2036672" cy="117452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BB0048-01FB-4AF4-90DA-D4F9C558EF59}">
      <dsp:nvSpPr>
        <dsp:cNvPr id="0" name=""/>
        <dsp:cNvSpPr/>
      </dsp:nvSpPr>
      <dsp:spPr>
        <a:xfrm>
          <a:off x="754331" y="839"/>
          <a:ext cx="1988252" cy="1369905"/>
        </a:xfrm>
        <a:prstGeom prst="roundRect">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4734" t="-15698" r="4734" b="-15698"/>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891D52-4045-4D4A-B2D5-5FEE022DFE5C}">
      <dsp:nvSpPr>
        <dsp:cNvPr id="0" name=""/>
        <dsp:cNvSpPr/>
      </dsp:nvSpPr>
      <dsp:spPr>
        <a:xfrm>
          <a:off x="754331" y="1370745"/>
          <a:ext cx="1988252" cy="737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a:lnSpc>
              <a:spcPct val="90000"/>
            </a:lnSpc>
            <a:spcBef>
              <a:spcPct val="0"/>
            </a:spcBef>
            <a:spcAft>
              <a:spcPct val="35000"/>
            </a:spcAft>
            <a:buNone/>
          </a:pPr>
          <a:r>
            <a:rPr lang="en-GB" sz="2100" kern="1200"/>
            <a:t>Slide show view</a:t>
          </a:r>
        </a:p>
      </dsp:txBody>
      <dsp:txXfrm>
        <a:off x="754331" y="1370745"/>
        <a:ext cx="1988252" cy="737641"/>
      </dsp:txXfrm>
    </dsp:sp>
    <dsp:sp modelId="{FA24291A-B745-4437-B5E6-69A276221BCE}">
      <dsp:nvSpPr>
        <dsp:cNvPr id="0" name=""/>
        <dsp:cNvSpPr/>
      </dsp:nvSpPr>
      <dsp:spPr>
        <a:xfrm>
          <a:off x="2941493" y="839"/>
          <a:ext cx="1988252" cy="1369905"/>
        </a:xfrm>
        <a:prstGeom prst="roundRect">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1811" t="-1790" r="1811" b="-15421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2012AE-17EB-42D7-A1B9-205EAD383784}">
      <dsp:nvSpPr>
        <dsp:cNvPr id="0" name=""/>
        <dsp:cNvSpPr/>
      </dsp:nvSpPr>
      <dsp:spPr>
        <a:xfrm>
          <a:off x="2941493" y="1370745"/>
          <a:ext cx="1988252" cy="737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a:lnSpc>
              <a:spcPct val="90000"/>
            </a:lnSpc>
            <a:spcBef>
              <a:spcPct val="0"/>
            </a:spcBef>
            <a:spcAft>
              <a:spcPct val="35000"/>
            </a:spcAft>
            <a:buNone/>
          </a:pPr>
          <a:r>
            <a:rPr lang="en-GB" sz="2100" kern="1200"/>
            <a:t>Presenter view use</a:t>
          </a:r>
        </a:p>
      </dsp:txBody>
      <dsp:txXfrm>
        <a:off x="2941493" y="1370745"/>
        <a:ext cx="1988252" cy="737641"/>
      </dsp:txXfrm>
    </dsp:sp>
    <dsp:sp modelId="{826BDFB7-386B-42E3-BDD5-FAB46D7F07D3}">
      <dsp:nvSpPr>
        <dsp:cNvPr id="0" name=""/>
        <dsp:cNvSpPr/>
      </dsp:nvSpPr>
      <dsp:spPr>
        <a:xfrm>
          <a:off x="5128654" y="839"/>
          <a:ext cx="1988252" cy="1369905"/>
        </a:xfrm>
        <a:prstGeom prst="roundRect">
          <a:avLst/>
        </a:prstGeom>
        <a:blipFill dpi="0"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l="4734" t="-15698" r="4734" b="-15698"/>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189787-047F-4192-9C72-27CF5418F99F}">
      <dsp:nvSpPr>
        <dsp:cNvPr id="0" name=""/>
        <dsp:cNvSpPr/>
      </dsp:nvSpPr>
      <dsp:spPr>
        <a:xfrm>
          <a:off x="5128654" y="1370745"/>
          <a:ext cx="1988252" cy="737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a:lnSpc>
              <a:spcPct val="90000"/>
            </a:lnSpc>
            <a:spcBef>
              <a:spcPct val="0"/>
            </a:spcBef>
            <a:spcAft>
              <a:spcPct val="35000"/>
            </a:spcAft>
            <a:buNone/>
          </a:pPr>
          <a:r>
            <a:rPr lang="en-GB" sz="2100" kern="1200"/>
            <a:t>Hiding slides</a:t>
          </a:r>
        </a:p>
      </dsp:txBody>
      <dsp:txXfrm>
        <a:off x="5128654" y="1370745"/>
        <a:ext cx="1988252" cy="737641"/>
      </dsp:txXfrm>
    </dsp:sp>
    <dsp:sp modelId="{DF76D38A-2236-4741-9947-C096AEF16185}">
      <dsp:nvSpPr>
        <dsp:cNvPr id="0" name=""/>
        <dsp:cNvSpPr/>
      </dsp:nvSpPr>
      <dsp:spPr>
        <a:xfrm>
          <a:off x="7315815" y="839"/>
          <a:ext cx="1988252" cy="1369905"/>
        </a:xfrm>
        <a:prstGeom prst="roundRect">
          <a:avLst/>
        </a:prstGeom>
        <a:blipFill dpi="0" rotWithShape="1">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l="4734" t="-10442" r="4734" b="-20954"/>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DB89ED8-88B2-4A91-9C1B-8263B3C7138A}">
      <dsp:nvSpPr>
        <dsp:cNvPr id="0" name=""/>
        <dsp:cNvSpPr/>
      </dsp:nvSpPr>
      <dsp:spPr>
        <a:xfrm>
          <a:off x="7315815" y="1370745"/>
          <a:ext cx="1988252" cy="737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a:lnSpc>
              <a:spcPct val="90000"/>
            </a:lnSpc>
            <a:spcBef>
              <a:spcPct val="0"/>
            </a:spcBef>
            <a:spcAft>
              <a:spcPct val="35000"/>
            </a:spcAft>
            <a:buNone/>
          </a:pPr>
          <a:r>
            <a:rPr lang="en-GB" sz="2100" kern="1200"/>
            <a:t>Custom shows</a:t>
          </a:r>
        </a:p>
      </dsp:txBody>
      <dsp:txXfrm>
        <a:off x="7315815" y="1370745"/>
        <a:ext cx="1988252" cy="737641"/>
      </dsp:txXfrm>
    </dsp:sp>
    <dsp:sp modelId="{A5D264DC-DD69-4758-84AA-378B892CAC7F}">
      <dsp:nvSpPr>
        <dsp:cNvPr id="0" name=""/>
        <dsp:cNvSpPr/>
      </dsp:nvSpPr>
      <dsp:spPr>
        <a:xfrm>
          <a:off x="1847912" y="2307212"/>
          <a:ext cx="1988252" cy="1369905"/>
        </a:xfrm>
        <a:prstGeom prst="roundRect">
          <a:avLst/>
        </a:prstGeom>
        <a:blipFill dpi="0" rotWithShape="1">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l="4734" t="-15698" r="4734" b="-15698"/>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8F49CD5-A8C5-4393-8C78-0BB0D32C88A0}">
      <dsp:nvSpPr>
        <dsp:cNvPr id="0" name=""/>
        <dsp:cNvSpPr/>
      </dsp:nvSpPr>
      <dsp:spPr>
        <a:xfrm>
          <a:off x="1847912" y="3677118"/>
          <a:ext cx="1988252" cy="737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a:lnSpc>
              <a:spcPct val="90000"/>
            </a:lnSpc>
            <a:spcBef>
              <a:spcPct val="0"/>
            </a:spcBef>
            <a:spcAft>
              <a:spcPct val="35000"/>
            </a:spcAft>
            <a:buNone/>
          </a:pPr>
          <a:r>
            <a:rPr lang="en-GB" sz="2100" kern="1200"/>
            <a:t>Printing the presentation</a:t>
          </a:r>
        </a:p>
      </dsp:txBody>
      <dsp:txXfrm>
        <a:off x="1847912" y="3677118"/>
        <a:ext cx="1988252" cy="737641"/>
      </dsp:txXfrm>
    </dsp:sp>
    <dsp:sp modelId="{F47831BD-7B62-42FE-8E56-CFB7F8F58D63}">
      <dsp:nvSpPr>
        <dsp:cNvPr id="0" name=""/>
        <dsp:cNvSpPr/>
      </dsp:nvSpPr>
      <dsp:spPr>
        <a:xfrm>
          <a:off x="4035073" y="2307212"/>
          <a:ext cx="1988252" cy="1369905"/>
        </a:xfrm>
        <a:prstGeom prst="roundRect">
          <a:avLst/>
        </a:prstGeom>
        <a:blipFill dpi="0" rotWithShape="1">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l="2923" t="-10442" r="2923" b="-15698"/>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F8A4044-786A-4F86-8F81-00031856BE32}">
      <dsp:nvSpPr>
        <dsp:cNvPr id="0" name=""/>
        <dsp:cNvSpPr/>
      </dsp:nvSpPr>
      <dsp:spPr>
        <a:xfrm>
          <a:off x="4035073" y="3677118"/>
          <a:ext cx="1988252" cy="737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a:lnSpc>
              <a:spcPct val="90000"/>
            </a:lnSpc>
            <a:spcBef>
              <a:spcPct val="0"/>
            </a:spcBef>
            <a:spcAft>
              <a:spcPct val="35000"/>
            </a:spcAft>
            <a:buNone/>
          </a:pPr>
          <a:r>
            <a:rPr lang="en-GB" sz="2100" kern="1200"/>
            <a:t>Export the presentation</a:t>
          </a:r>
        </a:p>
      </dsp:txBody>
      <dsp:txXfrm>
        <a:off x="4035073" y="3677118"/>
        <a:ext cx="1988252" cy="737641"/>
      </dsp:txXfrm>
    </dsp:sp>
    <dsp:sp modelId="{0A08A9E9-413C-4A60-85BE-209FCFFF27E1}">
      <dsp:nvSpPr>
        <dsp:cNvPr id="0" name=""/>
        <dsp:cNvSpPr/>
      </dsp:nvSpPr>
      <dsp:spPr>
        <a:xfrm>
          <a:off x="6222235" y="2307212"/>
          <a:ext cx="1988252" cy="1369905"/>
        </a:xfrm>
        <a:prstGeom prst="roundRect">
          <a:avLst/>
        </a:prstGeom>
        <a:blipFill dpi="0" rotWithShape="1">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l="8356" t="-10442" r="8356" b="-10442"/>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F72603-A81E-435C-B4CF-8FE67EAEA242}">
      <dsp:nvSpPr>
        <dsp:cNvPr id="0" name=""/>
        <dsp:cNvSpPr/>
      </dsp:nvSpPr>
      <dsp:spPr>
        <a:xfrm>
          <a:off x="6222235" y="3677118"/>
          <a:ext cx="1988252" cy="737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marL="0" lvl="0" indent="0" algn="ctr" defTabSz="933450">
            <a:lnSpc>
              <a:spcPct val="90000"/>
            </a:lnSpc>
            <a:spcBef>
              <a:spcPct val="0"/>
            </a:spcBef>
            <a:spcAft>
              <a:spcPct val="35000"/>
            </a:spcAft>
            <a:buNone/>
          </a:pPr>
          <a:r>
            <a:rPr lang="en-GB" sz="2100" kern="1200"/>
            <a:t>Notes</a:t>
          </a:r>
        </a:p>
      </dsp:txBody>
      <dsp:txXfrm>
        <a:off x="6222235" y="3677118"/>
        <a:ext cx="1988252" cy="73764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9607D5-93CE-4CBF-A0FD-77C98401EE39}">
      <dsp:nvSpPr>
        <dsp:cNvPr id="0" name=""/>
        <dsp:cNvSpPr/>
      </dsp:nvSpPr>
      <dsp:spPr>
        <a:xfrm>
          <a:off x="0" y="252740"/>
          <a:ext cx="3143249" cy="1885950"/>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Straight lines and perfect circles</a:t>
          </a:r>
          <a:endParaRPr lang="en-GB" sz="2700" kern="1200"/>
        </a:p>
      </dsp:txBody>
      <dsp:txXfrm>
        <a:off x="0" y="252740"/>
        <a:ext cx="3143249" cy="1885950"/>
      </dsp:txXfrm>
    </dsp:sp>
    <dsp:sp modelId="{04738C22-1819-4C81-BE1A-76A756C13416}">
      <dsp:nvSpPr>
        <dsp:cNvPr id="0" name=""/>
        <dsp:cNvSpPr/>
      </dsp:nvSpPr>
      <dsp:spPr>
        <a:xfrm>
          <a:off x="3457575" y="252740"/>
          <a:ext cx="3143249" cy="1885950"/>
        </a:xfrm>
        <a:prstGeom prst="rect">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Collapse in outline</a:t>
          </a:r>
          <a:endParaRPr lang="en-GB" sz="2700" kern="1200"/>
        </a:p>
      </dsp:txBody>
      <dsp:txXfrm>
        <a:off x="3457575" y="252740"/>
        <a:ext cx="3143249" cy="1885950"/>
      </dsp:txXfrm>
    </dsp:sp>
    <dsp:sp modelId="{947CC8F4-6351-45C6-A971-BCBDD8A33921}">
      <dsp:nvSpPr>
        <dsp:cNvPr id="0" name=""/>
        <dsp:cNvSpPr/>
      </dsp:nvSpPr>
      <dsp:spPr>
        <a:xfrm>
          <a:off x="6915149" y="252740"/>
          <a:ext cx="3143249" cy="1885950"/>
        </a:xfrm>
        <a:prstGeom prst="rect">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Convert into smart art</a:t>
          </a:r>
          <a:endParaRPr lang="en-GB" sz="2700" kern="1200"/>
        </a:p>
      </dsp:txBody>
      <dsp:txXfrm>
        <a:off x="6915149" y="252740"/>
        <a:ext cx="3143249" cy="1885950"/>
      </dsp:txXfrm>
    </dsp:sp>
    <dsp:sp modelId="{7E256610-C828-463C-B9C3-21EC821D67C7}">
      <dsp:nvSpPr>
        <dsp:cNvPr id="0" name=""/>
        <dsp:cNvSpPr/>
      </dsp:nvSpPr>
      <dsp:spPr>
        <a:xfrm>
          <a:off x="0" y="2453015"/>
          <a:ext cx="3143249" cy="1885950"/>
        </a:xfrm>
        <a:prstGeom prst="rect">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Resize images</a:t>
          </a:r>
          <a:endParaRPr lang="en-GB" sz="2700" kern="1200"/>
        </a:p>
      </dsp:txBody>
      <dsp:txXfrm>
        <a:off x="0" y="2453015"/>
        <a:ext cx="3143249" cy="1885950"/>
      </dsp:txXfrm>
    </dsp:sp>
    <dsp:sp modelId="{0C8D541D-6F73-4B22-AF1A-F110A738E9FF}">
      <dsp:nvSpPr>
        <dsp:cNvPr id="0" name=""/>
        <dsp:cNvSpPr/>
      </dsp:nvSpPr>
      <dsp:spPr>
        <a:xfrm>
          <a:off x="3457575" y="2453014"/>
          <a:ext cx="3143249" cy="1885950"/>
        </a:xfrm>
        <a:prstGeom prst="rect">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Shft click views</a:t>
          </a:r>
          <a:endParaRPr lang="en-GB" sz="2700" kern="1200"/>
        </a:p>
      </dsp:txBody>
      <dsp:txXfrm>
        <a:off x="3457575" y="2453014"/>
        <a:ext cx="3143249" cy="1885950"/>
      </dsp:txXfrm>
    </dsp:sp>
    <dsp:sp modelId="{963C4A53-D41C-4DC5-A737-8B544BED79F6}">
      <dsp:nvSpPr>
        <dsp:cNvPr id="0" name=""/>
        <dsp:cNvSpPr/>
      </dsp:nvSpPr>
      <dsp:spPr>
        <a:xfrm>
          <a:off x="6915149" y="2453014"/>
          <a:ext cx="3143249" cy="1885950"/>
        </a:xfrm>
        <a:prstGeom prst="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kern="1200"/>
            <a:t>During presentation:</a:t>
          </a:r>
          <a:endParaRPr lang="en-GB" sz="2700" kern="1200"/>
        </a:p>
        <a:p>
          <a:pPr marL="228600" lvl="1" indent="-228600" algn="l" defTabSz="933450">
            <a:lnSpc>
              <a:spcPct val="90000"/>
            </a:lnSpc>
            <a:spcBef>
              <a:spcPct val="0"/>
            </a:spcBef>
            <a:spcAft>
              <a:spcPct val="15000"/>
            </a:spcAft>
            <a:buChar char="•"/>
          </a:pPr>
          <a:r>
            <a:rPr lang="en-US" sz="2100" kern="1200"/>
            <a:t>B or W </a:t>
          </a:r>
          <a:endParaRPr lang="en-GB" sz="2100" kern="1200"/>
        </a:p>
        <a:p>
          <a:pPr marL="228600" lvl="1" indent="-228600" algn="l" defTabSz="933450">
            <a:lnSpc>
              <a:spcPct val="90000"/>
            </a:lnSpc>
            <a:spcBef>
              <a:spcPct val="0"/>
            </a:spcBef>
            <a:spcAft>
              <a:spcPct val="15000"/>
            </a:spcAft>
            <a:buChar char="•"/>
          </a:pPr>
          <a:r>
            <a:rPr lang="en-US" sz="2100" kern="1200"/>
            <a:t>- key </a:t>
          </a:r>
          <a:endParaRPr lang="en-GB" sz="2100" kern="1200"/>
        </a:p>
        <a:p>
          <a:pPr marL="228600" lvl="1" indent="-228600" algn="l" defTabSz="933450">
            <a:lnSpc>
              <a:spcPct val="90000"/>
            </a:lnSpc>
            <a:spcBef>
              <a:spcPct val="0"/>
            </a:spcBef>
            <a:spcAft>
              <a:spcPct val="15000"/>
            </a:spcAft>
            <a:buChar char="•"/>
          </a:pPr>
          <a:r>
            <a:rPr lang="en-US" sz="2100" kern="1200"/>
            <a:t>Slide number + enter</a:t>
          </a:r>
          <a:endParaRPr lang="en-GB" sz="2100" kern="1200"/>
        </a:p>
      </dsp:txBody>
      <dsp:txXfrm>
        <a:off x="6915149" y="2453014"/>
        <a:ext cx="3143249" cy="1885950"/>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5.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ThemePictureAccent">
  <dgm:title val="Theme Picture Accent"/>
  <dgm:desc val="Use to show a group of pictures with the first picture being centered and the largest. Can contain up to six Level 1 pictures. Unused pictures do not appear, but remain available if you switch layouts.  Works best with small amounts of text."/>
  <dgm:catLst>
    <dgm:cat type="picture" pri="13250"/>
    <dgm:cat type="officeonline" pri="4000"/>
  </dgm:catLst>
  <dgm:sampData>
    <dgm:dataModel>
      <dgm:ptLst>
        <dgm:pt modelId="0" type="doc"/>
        <dgm:pt modelId="10">
          <dgm:prSet phldr="1"/>
        </dgm:pt>
        <dgm:pt modelId="20">
          <dgm:prSet phldr="1"/>
        </dgm:pt>
        <dgm:pt modelId="30">
          <dgm:prSet phldr="1"/>
        </dgm:pt>
        <dgm:pt modelId="40">
          <dgm:prSet phldr="1"/>
        </dgm:pt>
        <dgm:pt modelId="50">
          <dgm:prSet phldr="1"/>
        </dgm:pt>
        <dgm:pt modelId="60">
          <dgm:prSet phldr="1"/>
        </dgm:pt>
      </dgm:ptLst>
      <dgm:cxnLst>
        <dgm:cxn modelId="70" srcId="0" destId="10" srcOrd="0" destOrd="0"/>
        <dgm:cxn modelId="80" srcId="0" destId="20" srcOrd="1" destOrd="0"/>
        <dgm:cxn modelId="90" srcId="0" destId="30" srcOrd="2" destOrd="0"/>
        <dgm:cxn modelId="100" srcId="0" destId="40" srcOrd="3" destOrd="0"/>
        <dgm:cxn modelId="110" srcId="0" destId="50" srcOrd="4" destOrd="0"/>
        <dgm:cxn modelId="120" srcId="0" destId="60" srcOrd="5"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6"/>
      <dgm:chPref val="6"/>
      <dgm:dir/>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62"/>
            </dgm:alg>
            <dgm:constrLst>
              <dgm:constr type="primFontSz" for="des" forName="Text1" val="65"/>
              <dgm:constr type="l" for="ch" forName="Image1" refType="w" fact="0"/>
              <dgm:constr type="t" for="ch" forName="Image1" refType="h" fact="0"/>
              <dgm:constr type="w" for="ch" forName="Image1" refType="w"/>
              <dgm:constr type="h" for="ch" forName="Image1" refType="h"/>
              <dgm:constr type="l" for="ch" forName="Accent1" refType="w" fact="0.0491"/>
              <dgm:constr type="t" for="ch" forName="Accent1" refType="h" fact="0.0756"/>
              <dgm:constr type="w" for="ch" forName="Accent1" refType="w" fact="0.9035"/>
              <dgm:constr type="h" for="ch" forName="Accent1" refType="h" fact="0.8429"/>
              <dgm:constr type="l" for="ch" forName="Text1" refType="w" fact="0.0491"/>
              <dgm:constr type="t" for="ch" forName="Text1" refType="h" fact="0.6654"/>
              <dgm:constr type="w" for="ch" forName="Text1" refType="w" fact="0.9035"/>
              <dgm:constr type="h" for="ch" forName="Text1" refType="h" fact="0.2548"/>
            </dgm:constrLst>
          </dgm:if>
          <dgm:if name="Name5" axis="ch" ptType="node" func="cnt" op="equ" val="2">
            <dgm:alg type="composite">
              <dgm:param type="ar" val="0.9528"/>
            </dgm:alg>
            <dgm:constrLst>
              <dgm:constr type="primFontSz" for="des" forName="Text1" val="65"/>
              <dgm:constr type="primFontSz" for="des" forName="Text2" refType="primFontSz" refFor="des" refForName="Text1" op="equ"/>
              <dgm:constr type="l" for="ch" forName="Image1" refType="w" fact="0"/>
              <dgm:constr type="t" for="ch" forName="Image1" refType="h" fact="0.4119"/>
              <dgm:constr type="w" for="ch" forName="Image1" refType="w" fact="0.997"/>
              <dgm:constr type="h" for="ch" forName="Image1" refType="h" fact="0.5881"/>
              <dgm:constr type="l" for="ch" forName="Accent1" refType="w" fact="0.049"/>
              <dgm:constr type="t" for="ch" forName="Accent1" refType="h" fact="0.4563"/>
              <dgm:constr type="w" for="ch" forName="Accent1" refType="w" fact="0.9008"/>
              <dgm:constr type="h" for="ch" forName="Accent1" refType="h" fact="0.4958"/>
              <dgm:constr type="l" for="ch" forName="Image2" refType="w" fact="0.6099"/>
              <dgm:constr type="t" for="ch" forName="Image2" refType="h" fact="0"/>
              <dgm:constr type="w" for="ch" forName="Image2" refType="w" fact="0.3901"/>
              <dgm:constr type="h" for="ch" forName="Image2" refType="h" fact="0.3806"/>
              <dgm:constr type="l" for="ch" forName="Accent2" refType="w" fact="0.6338"/>
              <dgm:constr type="t" for="ch" forName="Accent2" refType="h" fact="0.0231"/>
              <dgm:constr type="w" for="ch" forName="Accent2" refType="w" fact="0.3418"/>
              <dgm:constr type="h" for="ch" forName="Accent2" refType="h" fact="0.3343"/>
              <dgm:constr type="l" for="ch" forName="Text1" refType="w" fact="0.049"/>
              <dgm:constr type="t" for="ch" forName="Text1" refType="h" fact="0.8032"/>
              <dgm:constr type="w" for="ch" forName="Text1" refType="w" fact="0.9008"/>
              <dgm:constr type="h" for="ch" forName="Text1" refType="h" fact="0.1499"/>
              <dgm:constr type="l" for="ch" forName="Text2" refType="w" fact="0.6335"/>
              <dgm:constr type="t" for="ch" forName="Text2" refType="h" fact="0.2575"/>
              <dgm:constr type="w" for="ch" forName="Text2" refType="w" fact="0.3418"/>
              <dgm:constr type="h" for="ch" forName="Text2" refType="h" fact="0.0999"/>
            </dgm:constrLst>
          </dgm:if>
          <dgm:if name="Name6" axis="ch" ptType="node" func="cnt" op="equ" val="3">
            <dgm:alg type="composite">
              <dgm:param type="ar" val="1.4351"/>
            </dgm:alg>
            <dgm:constrLst>
              <dgm:constr type="primFontSz" for="des" forName="Text1" val="65"/>
              <dgm:constr type="primFontSz" for="des" forName="Text2" refType="primFontSz" refFor="des" refForName="Text1" op="equ"/>
              <dgm:constr type="primFontSz" for="des" forName="Text3" refType="primFontSz" refFor="des" refForName="Text1" op="equ"/>
              <dgm:constr type="l" for="ch" forName="Image1" refType="w" fact="0"/>
              <dgm:constr type="t" for="ch" forName="Image1" refType="h" fact="0.4119"/>
              <dgm:constr type="w" for="ch" forName="Image1" refType="w" fact="0.6627"/>
              <dgm:constr type="h" for="ch" forName="Image1" refType="h" fact="0.5881"/>
              <dgm:constr type="l" for="ch" forName="Accent1" refType="w" fact="0.0326"/>
              <dgm:constr type="t" for="ch" forName="Accent1" refType="h" fact="0.4563"/>
              <dgm:constr type="w" for="ch" forName="Accent1" refType="w" fact="0.5988"/>
              <dgm:constr type="h" for="ch" forName="Accent1" refType="h" fact="0.4958"/>
              <dgm:constr type="l" for="ch" forName="Image3" refType="w" fact="0.6846"/>
              <dgm:constr type="t" for="ch" forName="Image3" refType="h" fact="0.6397"/>
              <dgm:constr type="w" for="ch" forName="Image3" refType="w" fact="0.3154"/>
              <dgm:constr type="h" for="ch" forName="Image3" refType="h" fact="0.2805"/>
              <dgm:constr type="l" for="ch" forName="Accent3" refType="w" fact="0.7006"/>
              <dgm:constr type="t" for="ch" forName="Accent3" refType="h" fact="0.6629"/>
              <dgm:constr type="w" for="ch" forName="Accent3" refType="w" fact="0.2833"/>
              <dgm:constr type="h" for="ch" forName="Accent3" refType="h" fact="0.2344"/>
              <dgm:constr type="l" for="ch" forName="Image2" refType="w" fact="0.4054"/>
              <dgm:constr type="t" for="ch" forName="Image2" refType="h" fact="0"/>
              <dgm:constr type="w" for="ch" forName="Image2" refType="w" fact="0.2593"/>
              <dgm:constr type="h" for="ch" forName="Image2" refType="h" fact="0.3806"/>
              <dgm:constr type="l" for="ch" forName="Accent2" refType="w" fact="0.4213"/>
              <dgm:constr type="t" for="ch" forName="Accent2" refType="h" fact="0.0231"/>
              <dgm:constr type="w" for="ch" forName="Accent2" refType="w" fact="0.2272"/>
              <dgm:constr type="h" for="ch" forName="Accent2" refType="h" fact="0.3343"/>
              <dgm:constr type="l" for="ch" forName="Text1" refType="w" fact="0.0326"/>
              <dgm:constr type="t" for="ch" forName="Text1" refType="h" fact="0.8032"/>
              <dgm:constr type="w" for="ch" forName="Text1" refType="w" fact="0.5988"/>
              <dgm:constr type="h" for="ch" forName="Text1" refType="h" fact="0.1499"/>
              <dgm:constr type="l" for="ch" forName="Text2" refType="w" fact="0.4211"/>
              <dgm:constr type="t" for="ch" forName="Text2" refType="h" fact="0.2575"/>
              <dgm:constr type="w" for="ch" forName="Text2" refType="w" fact="0.2272"/>
              <dgm:constr type="h" for="ch" forName="Text2" refType="h" fact="0.0999"/>
              <dgm:constr type="l" for="ch" forName="Text3" refType="w" fact="0.7006"/>
              <dgm:constr type="t" for="ch" forName="Text3" refType="h" fact="0.7974"/>
              <dgm:constr type="w" for="ch" forName="Text3" refType="w" fact="0.2833"/>
              <dgm:constr type="h" for="ch" forName="Text3" refType="h" fact="0.0999"/>
            </dgm:constrLst>
          </dgm:if>
          <dgm:if name="Name7" axis="ch" ptType="node" func="cnt" op="equ" val="4">
            <dgm:alg type="composite">
              <dgm:param type="ar" val="1.6922"/>
            </dgm:alg>
            <dgm:constrLst>
              <dgm:constr type="primFontSz" for="des" forName="Text1" val="65"/>
              <dgm:constr type="primFontSz" for="des" forName="Text2" refType="primFontSz" refFor="des" refForName="Text1" op="equ"/>
              <dgm:constr type="primFontSz" for="des" forName="Text3" refType="primFontSz" refFor="des" refForName="Text1" op="equ"/>
              <dgm:constr type="primFontSz" for="des" forName="Text4" refType="primFontSz" refFor="des" refForName="Text1" op="equ"/>
              <dgm:constr type="l" for="ch" forName="Image1" refType="w" fact="0.1498"/>
              <dgm:constr type="t" for="ch" forName="Image1" refType="h" fact="0.4119"/>
              <dgm:constr type="w" for="ch" forName="Image1" refType="w" fact="0.5634"/>
              <dgm:constr type="h" for="ch" forName="Image1" refType="h" fact="0.5881"/>
              <dgm:constr type="l" for="ch" forName="Accent1" refType="w" fact="0.1774"/>
              <dgm:constr type="t" for="ch" forName="Accent1" refType="h" fact="0.4563"/>
              <dgm:constr type="w" for="ch" forName="Accent1" refType="w" fact="0.5091"/>
              <dgm:constr type="h" for="ch" forName="Accent1" refType="h" fact="0.4958"/>
              <dgm:constr type="l" for="ch" forName="Image4" refType="w" fact="0"/>
              <dgm:constr type="t" for="ch" forName="Image4" refType="h" fact="0.7601"/>
              <dgm:constr type="w" for="ch" forName="Image4" refType="w" fact="0.1316"/>
              <dgm:constr type="h" for="ch" forName="Image4" refType="h" fact="0.2262"/>
              <dgm:constr type="l" for="ch" forName="Accent4" refType="w" fact="0.0136"/>
              <dgm:constr type="t" for="ch" forName="Accent4" refType="h" fact="0.7839"/>
              <dgm:constr type="w" for="ch" forName="Accent4" refType="w" fact="0.1045"/>
              <dgm:constr type="h" for="ch" forName="Accent4" refType="h" fact="0.1806"/>
              <dgm:constr type="l" for="ch" forName="Image3" refType="w" fact="0.7318"/>
              <dgm:constr type="t" for="ch" forName="Image3" refType="h" fact="0.6397"/>
              <dgm:constr type="w" for="ch" forName="Image3" refType="w" fact="0.2682"/>
              <dgm:constr type="h" for="ch" forName="Image3" refType="h" fact="0.2805"/>
              <dgm:constr type="l" for="ch" forName="Accent3" refType="w" fact="0.7455"/>
              <dgm:constr type="t" for="ch" forName="Accent3" refType="h" fact="0.6629"/>
              <dgm:constr type="w" for="ch" forName="Accent3" refType="w" fact="0.2409"/>
              <dgm:constr type="h" for="ch" forName="Accent3" refType="h" fact="0.2344"/>
              <dgm:constr type="l" for="ch" forName="Image2" refType="w" fact="0.4944"/>
              <dgm:constr type="t" for="ch" forName="Image2" refType="h" fact="0"/>
              <dgm:constr type="w" for="ch" forName="Image2" refType="w" fact="0.2205"/>
              <dgm:constr type="h" for="ch" forName="Image2" refType="h" fact="0.3806"/>
              <dgm:constr type="l" for="ch" forName="Accent2" refType="w" fact="0.508"/>
              <dgm:constr type="t" for="ch" forName="Accent2" refType="h" fact="0.0231"/>
              <dgm:constr type="w" for="ch" forName="Accent2" refType="w" fact="0.1932"/>
              <dgm:constr type="h" for="ch" forName="Accent2" refType="h" fact="0.3343"/>
              <dgm:constr type="l" for="ch" forName="Text1" refType="w" fact="0.1774"/>
              <dgm:constr type="t" for="ch" forName="Text1" refType="h" fact="0.8032"/>
              <dgm:constr type="w" for="ch" forName="Text1" refType="w" fact="0.5091"/>
              <dgm:constr type="h" for="ch" forName="Text1" refType="h" fact="0.1499"/>
              <dgm:constr type="l" for="ch" forName="Text2" refType="w" fact="0.5078"/>
              <dgm:constr type="t" for="ch" forName="Text2" refType="h" fact="0.2575"/>
              <dgm:constr type="w" for="ch" forName="Text2" refType="w" fact="0.1932"/>
              <dgm:constr type="h" for="ch" forName="Text2" refType="h" fact="0.0999"/>
              <dgm:constr type="l" for="ch" forName="Text3" refType="w" fact="0.7455"/>
              <dgm:constr type="t" for="ch" forName="Text3" refType="h" fact="0.7974"/>
              <dgm:constr type="w" for="ch" forName="Text3" refType="w" fact="0.2409"/>
              <dgm:constr type="h" for="ch" forName="Text3" refType="h" fact="0.0999"/>
              <dgm:constr type="l" for="ch" forName="Text4" refType="w" fact="0.0136"/>
              <dgm:constr type="t" for="ch" forName="Text4" refType="h" fact="0.8647"/>
              <dgm:constr type="w" for="ch" forName="Text4" refType="w" fact="0.1045"/>
              <dgm:constr type="h" for="ch" forName="Text4" refType="h" fact="0.0999"/>
            </dgm:constrLst>
          </dgm:if>
          <dgm:if name="Name8" axis="ch" ptType="node" func="cnt" op="equ" val="5">
            <dgm:alg type="composite">
              <dgm:param type="ar" val="1.1999"/>
            </dgm:alg>
            <dgm:constrLst>
              <dgm:constr type="primFontSz" for="des" forName="Text1" val="65"/>
              <dgm:constr type="primFontSz" for="des" forName="Text2" refType="primFontSz" refFor="des" refForName="Text1" op="equ"/>
              <dgm:constr type="primFontSz" for="des" forName="Text3" refType="primFontSz" refFor="des" refForName="Text1" op="equ"/>
              <dgm:constr type="primFontSz" for="des" forName="Text4" refType="primFontSz" refFor="des" refForName="Text1" op="equ"/>
              <dgm:constr type="primFontSz" for="des" forName="Text5" refType="primFontSz" refFor="des" refForName="Text1" op="equ"/>
              <dgm:constr type="l" for="ch" forName="Image1" refType="w" fact="0.1498"/>
              <dgm:constr type="t" for="ch" forName="Image1" refType="h" fact="0.2921"/>
              <dgm:constr type="w" for="ch" forName="Image1" refType="w" fact="0.5634"/>
              <dgm:constr type="h" for="ch" forName="Image1" refType="h" fact="0.417"/>
              <dgm:constr type="l" for="ch" forName="Accent1" refType="w" fact="0.1774"/>
              <dgm:constr type="t" for="ch" forName="Accent1" refType="h" fact="0.3236"/>
              <dgm:constr type="w" for="ch" forName="Accent1" refType="w" fact="0.5091"/>
              <dgm:constr type="h" for="ch" forName="Accent1" refType="h" fact="0.3515"/>
              <dgm:constr type="l" for="ch" forName="Image4" refType="w" fact="0"/>
              <dgm:constr type="t" for="ch" forName="Image4" refType="h" fact="0.539"/>
              <dgm:constr type="w" for="ch" forName="Image4" refType="w" fact="0.1316"/>
              <dgm:constr type="h" for="ch" forName="Image4" refType="h" fact="0.1604"/>
              <dgm:constr type="l" for="ch" forName="Accent4" refType="w" fact="0.0136"/>
              <dgm:constr type="t" for="ch" forName="Accent4" refType="h" fact="0.5559"/>
              <dgm:constr type="w" for="ch" forName="Accent4" refType="w" fact="0.1045"/>
              <dgm:constr type="h" for="ch" forName="Accent4" refType="h" fact="0.1281"/>
              <dgm:constr type="l" for="ch" forName="Image5" refType="w" fact="0.6287"/>
              <dgm:constr type="t" for="ch" forName="Image5" refType="h" fact="0.7301"/>
              <dgm:constr type="w" for="ch" forName="Image5" refType="w" fact="0.2318"/>
              <dgm:constr type="h" for="ch" forName="Image5" refType="h" fact="0.2699"/>
              <dgm:constr type="l" for="ch" forName="Accent5" refType="w" fact="0.642"/>
              <dgm:constr type="t" for="ch" forName="Accent5" refType="h" fact="0.7467"/>
              <dgm:constr type="w" for="ch" forName="Accent5" refType="w" fact="0.2045"/>
              <dgm:constr type="h" for="ch" forName="Accent5" refType="h" fact="0.2371"/>
              <dgm:constr type="l" for="ch" forName="Image3" refType="w" fact="0.7318"/>
              <dgm:constr type="t" for="ch" forName="Image3" refType="h" fact="0.4536"/>
              <dgm:constr type="w" for="ch" forName="Image3" refType="w" fact="0.2682"/>
              <dgm:constr type="h" for="ch" forName="Image3" refType="h" fact="0.1989"/>
              <dgm:constr type="l" for="ch" forName="Accent3" refType="w" fact="0.7455"/>
              <dgm:constr type="t" for="ch" forName="Accent3" refType="h" fact="0.4701"/>
              <dgm:constr type="w" for="ch" forName="Accent3" refType="w" fact="0.2409"/>
              <dgm:constr type="h" for="ch" forName="Accent3" refType="h" fact="0.1662"/>
              <dgm:constr type="l" for="ch" forName="Image2" refType="w" fact="0.4944"/>
              <dgm:constr type="t" for="ch" forName="Image2" refType="h" fact="0"/>
              <dgm:constr type="w" for="ch" forName="Image2" refType="w" fact="0.2205"/>
              <dgm:constr type="h" for="ch" forName="Image2" refType="h" fact="0.2699"/>
              <dgm:constr type="l" for="ch" forName="Accent2" refType="w" fact="0.508"/>
              <dgm:constr type="t" for="ch" forName="Accent2" refType="h" fact="0.0164"/>
              <dgm:constr type="w" for="ch" forName="Accent2" refType="w" fact="0.1932"/>
              <dgm:constr type="h" for="ch" forName="Accent2" refType="h" fact="0.2371"/>
              <dgm:constr type="l" for="ch" forName="Text1" refType="w" fact="0.1774"/>
              <dgm:constr type="t" for="ch" forName="Text1" refType="h" fact="0.5695"/>
              <dgm:constr type="w" for="ch" forName="Text1" refType="w" fact="0.5091"/>
              <dgm:constr type="h" for="ch" forName="Text1" refType="h" fact="0.1063"/>
              <dgm:constr type="l" for="ch" forName="Text2" refType="w" fact="0.5078"/>
              <dgm:constr type="t" for="ch" forName="Text2" refType="h" fact="0.1826"/>
              <dgm:constr type="w" for="ch" forName="Text2" refType="w" fact="0.1932"/>
              <dgm:constr type="h" for="ch" forName="Text2" refType="h" fact="0.0709"/>
              <dgm:constr type="l" for="ch" forName="Text3" refType="w" fact="0.7455"/>
              <dgm:constr type="t" for="ch" forName="Text3" refType="h" fact="0.5655"/>
              <dgm:constr type="w" for="ch" forName="Text3" refType="w" fact="0.2409"/>
              <dgm:constr type="h" for="ch" forName="Text3" refType="h" fact="0.0709"/>
              <dgm:constr type="l" for="ch" forName="Text5" refType="w" fact="0.642"/>
              <dgm:constr type="t" for="ch" forName="Text5" refType="h" fact="0.9129"/>
              <dgm:constr type="w" for="ch" forName="Text5" refType="w" fact="0.2045"/>
              <dgm:constr type="h" for="ch" forName="Text5" refType="h" fact="0.0709"/>
              <dgm:constr type="l" for="ch" forName="Text4" refType="w" fact="0.0136"/>
              <dgm:constr type="t" for="ch" forName="Text4" refType="h" fact="0.6132"/>
              <dgm:constr type="w" for="ch" forName="Text4" refType="w" fact="0.1045"/>
              <dgm:constr type="h" for="ch" forName="Text4" refType="h" fact="0.0709"/>
            </dgm:constrLst>
          </dgm:if>
          <dgm:else name="Name9">
            <dgm:alg type="composite">
              <dgm:param type="ar" val="1.1999"/>
            </dgm:alg>
            <dgm:constrLst>
              <dgm:constr type="primFontSz" for="des" forName="Text1" val="65"/>
              <dgm:constr type="primFontSz" for="des" forName="Text2" refType="primFontSz" refFor="des" refForName="Text1" op="equ"/>
              <dgm:constr type="primFontSz" for="des" forName="Text3" refType="primFontSz" refFor="des" refForName="Text1" op="equ"/>
              <dgm:constr type="primFontSz" for="des" forName="Text4" refType="primFontSz" refFor="des" refForName="Text1" op="equ"/>
              <dgm:constr type="primFontSz" for="des" forName="Text5" refType="primFontSz" refFor="des" refForName="Text1" op="equ"/>
              <dgm:constr type="primFontSz" for="des" forName="Text6" refType="primFontSz" refFor="des" refForName="Text1" op="equ"/>
              <dgm:constr type="l" for="ch" forName="Image1" refType="w" fact="0.1498"/>
              <dgm:constr type="t" for="ch" forName="Image1" refType="h" fact="0.2921"/>
              <dgm:constr type="w" for="ch" forName="Image1" refType="w" fact="0.5634"/>
              <dgm:constr type="h" for="ch" forName="Image1" refType="h" fact="0.417"/>
              <dgm:constr type="l" for="ch" forName="Accent1" refType="w" fact="0.1774"/>
              <dgm:constr type="t" for="ch" forName="Accent1" refType="h" fact="0.3236"/>
              <dgm:constr type="w" for="ch" forName="Accent1" refType="w" fact="0.5091"/>
              <dgm:constr type="h" for="ch" forName="Accent1" refType="h" fact="0.3515"/>
              <dgm:constr type="l" for="ch" forName="Image4" refType="w" fact="0"/>
              <dgm:constr type="t" for="ch" forName="Image4" refType="h" fact="0.539"/>
              <dgm:constr type="w" for="ch" forName="Image4" refType="w" fact="0.1316"/>
              <dgm:constr type="h" for="ch" forName="Image4" refType="h" fact="0.1604"/>
              <dgm:constr type="l" for="ch" forName="Accent4" refType="w" fact="0.0136"/>
              <dgm:constr type="t" for="ch" forName="Accent4" refType="h" fact="0.5559"/>
              <dgm:constr type="w" for="ch" forName="Accent4" refType="w" fact="0.1045"/>
              <dgm:constr type="h" for="ch" forName="Accent4" refType="h" fact="0.1281"/>
              <dgm:constr type="l" for="ch" forName="Image5" refType="w" fact="0.6287"/>
              <dgm:constr type="t" for="ch" forName="Image5" refType="h" fact="0.7301"/>
              <dgm:constr type="w" for="ch" forName="Image5" refType="w" fact="0.2318"/>
              <dgm:constr type="h" for="ch" forName="Image5" refType="h" fact="0.2699"/>
              <dgm:constr type="l" for="ch" forName="Accent5" refType="w" fact="0.642"/>
              <dgm:constr type="t" for="ch" forName="Accent5" refType="h" fact="0.7467"/>
              <dgm:constr type="w" for="ch" forName="Accent5" refType="w" fact="0.2045"/>
              <dgm:constr type="h" for="ch" forName="Accent5" refType="h" fact="0.2371"/>
              <dgm:constr type="l" for="ch" forName="Image3" refType="w" fact="0.7318"/>
              <dgm:constr type="t" for="ch" forName="Image3" refType="h" fact="0.4536"/>
              <dgm:constr type="w" for="ch" forName="Image3" refType="w" fact="0.2682"/>
              <dgm:constr type="h" for="ch" forName="Image3" refType="h" fact="0.1989"/>
              <dgm:constr type="l" for="ch" forName="Accent3" refType="w" fact="0.7455"/>
              <dgm:constr type="t" for="ch" forName="Accent3" refType="h" fact="0.4701"/>
              <dgm:constr type="w" for="ch" forName="Accent3" refType="w" fact="0.2409"/>
              <dgm:constr type="h" for="ch" forName="Accent3" refType="h" fact="0.1662"/>
              <dgm:constr type="l" for="ch" forName="Image2" refType="w" fact="0.4944"/>
              <dgm:constr type="t" for="ch" forName="Image2" refType="h" fact="0"/>
              <dgm:constr type="w" for="ch" forName="Image2" refType="w" fact="0.2205"/>
              <dgm:constr type="h" for="ch" forName="Image2" refType="h" fact="0.2699"/>
              <dgm:constr type="l" for="ch" forName="Accent2" refType="w" fact="0.508"/>
              <dgm:constr type="t" for="ch" forName="Accent2" refType="h" fact="0.0164"/>
              <dgm:constr type="w" for="ch" forName="Accent2" refType="w" fact="0.1932"/>
              <dgm:constr type="h" for="ch" forName="Accent2" refType="h" fact="0.2371"/>
              <dgm:constr type="l" for="ch" forName="Text1" refType="w" fact="0.1774"/>
              <dgm:constr type="t" for="ch" forName="Text1" refType="h" fact="0.5695"/>
              <dgm:constr type="w" for="ch" forName="Text1" refType="w" fact="0.5091"/>
              <dgm:constr type="h" for="ch" forName="Text1" refType="h" fact="0.1063"/>
              <dgm:constr type="l" for="ch" forName="Image6" refType="w" fact="0.151"/>
              <dgm:constr type="t" for="ch" forName="Image6" refType="h" fact="0.7301"/>
              <dgm:constr type="w" for="ch" forName="Image6" refType="w" fact="0.2361"/>
              <dgm:constr type="h" for="ch" forName="Image6" refType="h" fact="0.1604"/>
              <dgm:constr type="l" for="ch" forName="Accent6" refType="w" fact="0.1648"/>
              <dgm:constr type="t" for="ch" forName="Accent6" refType="h" fact="0.7467"/>
              <dgm:constr type="w" for="ch" forName="Accent6" refType="w" fact="0.2091"/>
              <dgm:constr type="h" for="ch" forName="Accent6" refType="h" fact="0.1281"/>
              <dgm:constr type="l" for="ch" forName="Text2" refType="w" fact="0.5078"/>
              <dgm:constr type="t" for="ch" forName="Text2" refType="h" fact="0.1826"/>
              <dgm:constr type="w" for="ch" forName="Text2" refType="w" fact="0.1932"/>
              <dgm:constr type="h" for="ch" forName="Text2" refType="h" fact="0.0709"/>
              <dgm:constr type="l" for="ch" forName="Text3" refType="w" fact="0.7455"/>
              <dgm:constr type="t" for="ch" forName="Text3" refType="h" fact="0.5655"/>
              <dgm:constr type="w" for="ch" forName="Text3" refType="w" fact="0.2409"/>
              <dgm:constr type="h" for="ch" forName="Text3" refType="h" fact="0.0709"/>
              <dgm:constr type="l" for="ch" forName="Text5" refType="w" fact="0.642"/>
              <dgm:constr type="t" for="ch" forName="Text5" refType="h" fact="0.9129"/>
              <dgm:constr type="w" for="ch" forName="Text5" refType="w" fact="0.2045"/>
              <dgm:constr type="h" for="ch" forName="Text5" refType="h" fact="0.0709"/>
              <dgm:constr type="l" for="ch" forName="Text6" refType="w" fact="0.1648"/>
              <dgm:constr type="t" for="ch" forName="Text6" refType="h" fact="0.8039"/>
              <dgm:constr type="w" for="ch" forName="Text6" refType="w" fact="0.2091"/>
              <dgm:constr type="h" for="ch" forName="Text6" refType="h" fact="0.0709"/>
              <dgm:constr type="l" for="ch" forName="Text4" refType="w" fact="0.0136"/>
              <dgm:constr type="t" for="ch" forName="Text4" refType="h" fact="0.6132"/>
              <dgm:constr type="w" for="ch" forName="Text4" refType="w" fact="0.1045"/>
              <dgm:constr type="h" for="ch" forName="Text4" refType="h" fact="0.0709"/>
            </dgm:constrLst>
          </dgm:else>
        </dgm:choose>
      </dgm:if>
      <dgm:else name="Name10">
        <dgm:choose name="Name11">
          <dgm:if name="Name12" axis="ch" ptType="node" func="cnt" op="equ" val="1">
            <dgm:alg type="composite">
              <dgm:param type="ar" val="1.62"/>
            </dgm:alg>
            <dgm:constrLst>
              <dgm:constr type="primFontSz" for="des" forName="Text1" val="65"/>
              <dgm:constr type="l" for="ch" forName="Image1" refType="w" fact="0"/>
              <dgm:constr type="t" for="ch" forName="Image1" refType="h" fact="0"/>
              <dgm:constr type="w" for="ch" forName="Image1" refType="w"/>
              <dgm:constr type="h" for="ch" forName="Image1" refType="h"/>
              <dgm:constr type="l" for="ch" forName="Accent1" refType="w" fact="0.0491"/>
              <dgm:constr type="t" for="ch" forName="Accent1" refType="h" fact="0.0756"/>
              <dgm:constr type="w" for="ch" forName="Accent1" refType="w" fact="0.9035"/>
              <dgm:constr type="h" for="ch" forName="Accent1" refType="h" fact="0.8429"/>
              <dgm:constr type="l" for="ch" forName="Text1" refType="w" fact="0.0491"/>
              <dgm:constr type="t" for="ch" forName="Text1" refType="h" fact="0.6654"/>
              <dgm:constr type="w" for="ch" forName="Text1" refType="w" fact="0.9035"/>
              <dgm:constr type="h" for="ch" forName="Text1" refType="h" fact="0.2548"/>
            </dgm:constrLst>
          </dgm:if>
          <dgm:if name="Name13" axis="ch" ptType="node" func="cnt" op="equ" val="2">
            <dgm:alg type="composite">
              <dgm:param type="ar" val="0.9528"/>
            </dgm:alg>
            <dgm:constrLst>
              <dgm:constr type="primFontSz" for="des" forName="Text1" val="65"/>
              <dgm:constr type="primFontSz" for="des" forName="Text2" refType="primFontSz" refFor="des" refForName="Text1" op="equ"/>
              <dgm:constr type="r" for="ch" forName="Image1" refType="w"/>
              <dgm:constr type="t" for="ch" forName="Image1" refType="h" fact="0.4119"/>
              <dgm:constr type="w" for="ch" forName="Image1" refType="w" fact="0.997"/>
              <dgm:constr type="h" for="ch" forName="Image1" refType="h" fact="0.5881"/>
              <dgm:constr type="r" for="ch" forName="Accent1" refType="w" fact="0.951"/>
              <dgm:constr type="t" for="ch" forName="Accent1" refType="h" fact="0.4563"/>
              <dgm:constr type="w" for="ch" forName="Accent1" refType="w" fact="0.9008"/>
              <dgm:constr type="h" for="ch" forName="Accent1" refType="h" fact="0.4958"/>
              <dgm:constr type="r" for="ch" forName="Image2" refType="w" fact="0.3901"/>
              <dgm:constr type="t" for="ch" forName="Image2" refType="h" fact="0"/>
              <dgm:constr type="w" for="ch" forName="Image2" refType="w" fact="0.3901"/>
              <dgm:constr type="h" for="ch" forName="Image2" refType="h" fact="0.3806"/>
              <dgm:constr type="r" for="ch" forName="Accent2" refType="w" fact="0.3662"/>
              <dgm:constr type="t" for="ch" forName="Accent2" refType="h" fact="0.0231"/>
              <dgm:constr type="w" for="ch" forName="Accent2" refType="w" fact="0.3418"/>
              <dgm:constr type="h" for="ch" forName="Accent2" refType="h" fact="0.3343"/>
              <dgm:constr type="r" for="ch" forName="Text1" refType="w" fact="0.951"/>
              <dgm:constr type="t" for="ch" forName="Text1" refType="h" fact="0.8032"/>
              <dgm:constr type="w" for="ch" forName="Text1" refType="w" fact="0.9008"/>
              <dgm:constr type="h" for="ch" forName="Text1" refType="h" fact="0.1499"/>
              <dgm:constr type="r" for="ch" forName="Text2" refType="w" fact="0.3665"/>
              <dgm:constr type="t" for="ch" forName="Text2" refType="h" fact="0.2575"/>
              <dgm:constr type="w" for="ch" forName="Text2" refType="w" fact="0.3418"/>
              <dgm:constr type="h" for="ch" forName="Text2" refType="h" fact="0.0999"/>
            </dgm:constrLst>
          </dgm:if>
          <dgm:if name="Name14" axis="ch" ptType="node" func="cnt" op="equ" val="3">
            <dgm:alg type="composite">
              <dgm:param type="ar" val="1.4351"/>
            </dgm:alg>
            <dgm:constrLst>
              <dgm:constr type="primFontSz" for="des" forName="Text1" val="65"/>
              <dgm:constr type="primFontSz" for="des" forName="Text2" refType="primFontSz" refFor="des" refForName="Text1" op="equ"/>
              <dgm:constr type="primFontSz" for="des" forName="Text3" refType="primFontSz" refFor="des" refForName="Text1" op="equ"/>
              <dgm:constr type="r" for="ch" forName="Image1" refType="w"/>
              <dgm:constr type="t" for="ch" forName="Image1" refType="h" fact="0.4119"/>
              <dgm:constr type="w" for="ch" forName="Image1" refType="w" fact="0.6627"/>
              <dgm:constr type="h" for="ch" forName="Image1" refType="h" fact="0.5881"/>
              <dgm:constr type="r" for="ch" forName="Accent1" refType="w" fact="0.9674"/>
              <dgm:constr type="t" for="ch" forName="Accent1" refType="h" fact="0.4563"/>
              <dgm:constr type="w" for="ch" forName="Accent1" refType="w" fact="0.5988"/>
              <dgm:constr type="h" for="ch" forName="Accent1" refType="h" fact="0.4958"/>
              <dgm:constr type="r" for="ch" forName="Image3" refType="w" fact="0.3154"/>
              <dgm:constr type="t" for="ch" forName="Image3" refType="h" fact="0.6397"/>
              <dgm:constr type="w" for="ch" forName="Image3" refType="w" fact="0.3154"/>
              <dgm:constr type="h" for="ch" forName="Image3" refType="h" fact="0.2805"/>
              <dgm:constr type="r" for="ch" forName="Accent3" refType="w" fact="0.2994"/>
              <dgm:constr type="t" for="ch" forName="Accent3" refType="h" fact="0.6629"/>
              <dgm:constr type="w" for="ch" forName="Accent3" refType="w" fact="0.2833"/>
              <dgm:constr type="h" for="ch" forName="Accent3" refType="h" fact="0.2344"/>
              <dgm:constr type="r" for="ch" forName="Image2" refType="w" fact="0.5946"/>
              <dgm:constr type="t" for="ch" forName="Image2" refType="h" fact="0"/>
              <dgm:constr type="w" for="ch" forName="Image2" refType="w" fact="0.2593"/>
              <dgm:constr type="h" for="ch" forName="Image2" refType="h" fact="0.3806"/>
              <dgm:constr type="r" for="ch" forName="Accent2" refType="w" fact="0.5787"/>
              <dgm:constr type="t" for="ch" forName="Accent2" refType="h" fact="0.0231"/>
              <dgm:constr type="w" for="ch" forName="Accent2" refType="w" fact="0.2272"/>
              <dgm:constr type="h" for="ch" forName="Accent2" refType="h" fact="0.3343"/>
              <dgm:constr type="r" for="ch" forName="Text1" refType="w" fact="0.9674"/>
              <dgm:constr type="t" for="ch" forName="Text1" refType="h" fact="0.8032"/>
              <dgm:constr type="w" for="ch" forName="Text1" refType="w" fact="0.5988"/>
              <dgm:constr type="h" for="ch" forName="Text1" refType="h" fact="0.1499"/>
              <dgm:constr type="r" for="ch" forName="Text2" refType="w" fact="0.5789"/>
              <dgm:constr type="t" for="ch" forName="Text2" refType="h" fact="0.2575"/>
              <dgm:constr type="w" for="ch" forName="Text2" refType="w" fact="0.2272"/>
              <dgm:constr type="h" for="ch" forName="Text2" refType="h" fact="0.0999"/>
              <dgm:constr type="r" for="ch" forName="Text3" refType="w" fact="0.2994"/>
              <dgm:constr type="t" for="ch" forName="Text3" refType="h" fact="0.7974"/>
              <dgm:constr type="w" for="ch" forName="Text3" refType="w" fact="0.2833"/>
              <dgm:constr type="h" for="ch" forName="Text3" refType="h" fact="0.0999"/>
            </dgm:constrLst>
          </dgm:if>
          <dgm:if name="Name15" axis="ch" ptType="node" func="cnt" op="equ" val="4">
            <dgm:alg type="composite">
              <dgm:param type="ar" val="1.6922"/>
            </dgm:alg>
            <dgm:constrLst>
              <dgm:constr type="primFontSz" for="des" forName="Text1" val="65"/>
              <dgm:constr type="primFontSz" for="des" forName="Text2" refType="primFontSz" refFor="des" refForName="Text1" op="equ"/>
              <dgm:constr type="primFontSz" for="des" forName="Text3" refType="primFontSz" refFor="des" refForName="Text1" op="equ"/>
              <dgm:constr type="primFontSz" for="des" forName="Text4" refType="primFontSz" refFor="des" refForName="Text1" op="equ"/>
              <dgm:constr type="r" for="ch" forName="Image1" refType="w" fact="0.8502"/>
              <dgm:constr type="t" for="ch" forName="Image1" refType="h" fact="0.4119"/>
              <dgm:constr type="w" for="ch" forName="Image1" refType="w" fact="0.5634"/>
              <dgm:constr type="h" for="ch" forName="Image1" refType="h" fact="0.5881"/>
              <dgm:constr type="r" for="ch" forName="Accent1" refType="w" fact="0.8226"/>
              <dgm:constr type="t" for="ch" forName="Accent1" refType="h" fact="0.4563"/>
              <dgm:constr type="w" for="ch" forName="Accent1" refType="w" fact="0.5091"/>
              <dgm:constr type="h" for="ch" forName="Accent1" refType="h" fact="0.4958"/>
              <dgm:constr type="r" for="ch" forName="Image4" refType="w"/>
              <dgm:constr type="t" for="ch" forName="Image4" refType="h" fact="0.7601"/>
              <dgm:constr type="w" for="ch" forName="Image4" refType="w" fact="0.1316"/>
              <dgm:constr type="h" for="ch" forName="Image4" refType="h" fact="0.2262"/>
              <dgm:constr type="r" for="ch" forName="Accent4" refType="w" fact="0.9864"/>
              <dgm:constr type="t" for="ch" forName="Accent4" refType="h" fact="0.7839"/>
              <dgm:constr type="w" for="ch" forName="Accent4" refType="w" fact="0.1045"/>
              <dgm:constr type="h" for="ch" forName="Accent4" refType="h" fact="0.1806"/>
              <dgm:constr type="r" for="ch" forName="Image3" refType="w" fact="0.2682"/>
              <dgm:constr type="t" for="ch" forName="Image3" refType="h" fact="0.6397"/>
              <dgm:constr type="w" for="ch" forName="Image3" refType="w" fact="0.2682"/>
              <dgm:constr type="h" for="ch" forName="Image3" refType="h" fact="0.2805"/>
              <dgm:constr type="r" for="ch" forName="Accent3" refType="w" fact="0.2545"/>
              <dgm:constr type="t" for="ch" forName="Accent3" refType="h" fact="0.6629"/>
              <dgm:constr type="w" for="ch" forName="Accent3" refType="w" fact="0.2409"/>
              <dgm:constr type="h" for="ch" forName="Accent3" refType="h" fact="0.2344"/>
              <dgm:constr type="r" for="ch" forName="Image2" refType="w" fact="0.5056"/>
              <dgm:constr type="t" for="ch" forName="Image2" refType="h" fact="0"/>
              <dgm:constr type="w" for="ch" forName="Image2" refType="w" fact="0.2205"/>
              <dgm:constr type="h" for="ch" forName="Image2" refType="h" fact="0.3806"/>
              <dgm:constr type="r" for="ch" forName="Accent2" refType="w" fact="0.492"/>
              <dgm:constr type="t" for="ch" forName="Accent2" refType="h" fact="0.0231"/>
              <dgm:constr type="w" for="ch" forName="Accent2" refType="w" fact="0.1932"/>
              <dgm:constr type="h" for="ch" forName="Accent2" refType="h" fact="0.3343"/>
              <dgm:constr type="r" for="ch" forName="Text1" refType="w" fact="0.8226"/>
              <dgm:constr type="t" for="ch" forName="Text1" refType="h" fact="0.8032"/>
              <dgm:constr type="w" for="ch" forName="Text1" refType="w" fact="0.5091"/>
              <dgm:constr type="h" for="ch" forName="Text1" refType="h" fact="0.1499"/>
              <dgm:constr type="r" for="ch" forName="Text2" refType="w" fact="0.4922"/>
              <dgm:constr type="t" for="ch" forName="Text2" refType="h" fact="0.2575"/>
              <dgm:constr type="w" for="ch" forName="Text2" refType="w" fact="0.1932"/>
              <dgm:constr type="h" for="ch" forName="Text2" refType="h" fact="0.0999"/>
              <dgm:constr type="r" for="ch" forName="Text3" refType="w" fact="0.2545"/>
              <dgm:constr type="t" for="ch" forName="Text3" refType="h" fact="0.7974"/>
              <dgm:constr type="w" for="ch" forName="Text3" refType="w" fact="0.2409"/>
              <dgm:constr type="h" for="ch" forName="Text3" refType="h" fact="0.0999"/>
              <dgm:constr type="r" for="ch" forName="Text4" refType="w" fact="0.9864"/>
              <dgm:constr type="t" for="ch" forName="Text4" refType="h" fact="0.8647"/>
              <dgm:constr type="w" for="ch" forName="Text4" refType="w" fact="0.1045"/>
              <dgm:constr type="h" for="ch" forName="Text4" refType="h" fact="0.0999"/>
            </dgm:constrLst>
          </dgm:if>
          <dgm:if name="Name16" axis="ch" ptType="node" func="cnt" op="equ" val="5">
            <dgm:alg type="composite">
              <dgm:param type="ar" val="1.1999"/>
            </dgm:alg>
            <dgm:constrLst>
              <dgm:constr type="primFontSz" for="des" forName="Text1" val="65"/>
              <dgm:constr type="primFontSz" for="des" forName="Text2" refType="primFontSz" refFor="des" refForName="Text1" op="equ"/>
              <dgm:constr type="primFontSz" for="des" forName="Text3" refType="primFontSz" refFor="des" refForName="Text1" op="equ"/>
              <dgm:constr type="primFontSz" for="des" forName="Text4" refType="primFontSz" refFor="des" refForName="Text1" op="equ"/>
              <dgm:constr type="primFontSz" for="des" forName="Text5" refType="primFontSz" refFor="des" refForName="Text1" op="equ"/>
              <dgm:constr type="r" for="ch" forName="Image1" refType="w" fact="0.8502"/>
              <dgm:constr type="t" for="ch" forName="Image1" refType="h" fact="0.2921"/>
              <dgm:constr type="w" for="ch" forName="Image1" refType="w" fact="0.5634"/>
              <dgm:constr type="h" for="ch" forName="Image1" refType="h" fact="0.417"/>
              <dgm:constr type="r" for="ch" forName="Accent1" refType="w" fact="0.8226"/>
              <dgm:constr type="t" for="ch" forName="Accent1" refType="h" fact="0.3236"/>
              <dgm:constr type="w" for="ch" forName="Accent1" refType="w" fact="0.5091"/>
              <dgm:constr type="h" for="ch" forName="Accent1" refType="h" fact="0.3515"/>
              <dgm:constr type="r" for="ch" forName="Image4" refType="w"/>
              <dgm:constr type="t" for="ch" forName="Image4" refType="h" fact="0.539"/>
              <dgm:constr type="w" for="ch" forName="Image4" refType="w" fact="0.1316"/>
              <dgm:constr type="h" for="ch" forName="Image4" refType="h" fact="0.1604"/>
              <dgm:constr type="r" for="ch" forName="Accent4" refType="w" fact="0.9864"/>
              <dgm:constr type="t" for="ch" forName="Accent4" refType="h" fact="0.5559"/>
              <dgm:constr type="w" for="ch" forName="Accent4" refType="w" fact="0.1045"/>
              <dgm:constr type="h" for="ch" forName="Accent4" refType="h" fact="0.1281"/>
              <dgm:constr type="r" for="ch" forName="Image5" refType="w" fact="0.3723"/>
              <dgm:constr type="t" for="ch" forName="Image5" refType="h" fact="0.7301"/>
              <dgm:constr type="w" for="ch" forName="Image5" refType="w" fact="0.2318"/>
              <dgm:constr type="h" for="ch" forName="Image5" refType="h" fact="0.2699"/>
              <dgm:constr type="r" for="ch" forName="Accent5" refType="w" fact="0.358"/>
              <dgm:constr type="t" for="ch" forName="Accent5" refType="h" fact="0.7467"/>
              <dgm:constr type="w" for="ch" forName="Accent5" refType="w" fact="0.2045"/>
              <dgm:constr type="h" for="ch" forName="Accent5" refType="h" fact="0.2371"/>
              <dgm:constr type="r" for="ch" forName="Image3" refType="w" fact="0.2682"/>
              <dgm:constr type="t" for="ch" forName="Image3" refType="h" fact="0.4536"/>
              <dgm:constr type="w" for="ch" forName="Image3" refType="w" fact="0.2682"/>
              <dgm:constr type="h" for="ch" forName="Image3" refType="h" fact="0.1989"/>
              <dgm:constr type="r" for="ch" forName="Accent3" refType="w" fact="0.2545"/>
              <dgm:constr type="t" for="ch" forName="Accent3" refType="h" fact="0.4701"/>
              <dgm:constr type="w" for="ch" forName="Accent3" refType="w" fact="0.2409"/>
              <dgm:constr type="h" for="ch" forName="Accent3" refType="h" fact="0.1662"/>
              <dgm:constr type="r" for="ch" forName="Image2" refType="w" fact="0.5056"/>
              <dgm:constr type="t" for="ch" forName="Image2" refType="h" fact="0"/>
              <dgm:constr type="w" for="ch" forName="Image2" refType="w" fact="0.2205"/>
              <dgm:constr type="h" for="ch" forName="Image2" refType="h" fact="0.2699"/>
              <dgm:constr type="r" for="ch" forName="Accent2" refType="w" fact="0.492"/>
              <dgm:constr type="t" for="ch" forName="Accent2" refType="h" fact="0.0164"/>
              <dgm:constr type="w" for="ch" forName="Accent2" refType="w" fact="0.1932"/>
              <dgm:constr type="h" for="ch" forName="Accent2" refType="h" fact="0.2371"/>
              <dgm:constr type="r" for="ch" forName="Text1" refType="w" fact="0.8226"/>
              <dgm:constr type="t" for="ch" forName="Text1" refType="h" fact="0.5695"/>
              <dgm:constr type="w" for="ch" forName="Text1" refType="w" fact="0.5091"/>
              <dgm:constr type="h" for="ch" forName="Text1" refType="h" fact="0.1063"/>
              <dgm:constr type="r" for="ch" forName="Text2" refType="w" fact="0.4922"/>
              <dgm:constr type="t" for="ch" forName="Text2" refType="h" fact="0.1826"/>
              <dgm:constr type="w" for="ch" forName="Text2" refType="w" fact="0.1932"/>
              <dgm:constr type="h" for="ch" forName="Text2" refType="h" fact="0.0709"/>
              <dgm:constr type="r" for="ch" forName="Text3" refType="w" fact="0.2545"/>
              <dgm:constr type="t" for="ch" forName="Text3" refType="h" fact="0.5655"/>
              <dgm:constr type="w" for="ch" forName="Text3" refType="w" fact="0.2409"/>
              <dgm:constr type="h" for="ch" forName="Text3" refType="h" fact="0.0709"/>
              <dgm:constr type="r" for="ch" forName="Text5" refType="w" fact="0.358"/>
              <dgm:constr type="t" for="ch" forName="Text5" refType="h" fact="0.9129"/>
              <dgm:constr type="w" for="ch" forName="Text5" refType="w" fact="0.2045"/>
              <dgm:constr type="h" for="ch" forName="Text5" refType="h" fact="0.0709"/>
              <dgm:constr type="r" for="ch" forName="Text4" refType="w" fact="0.9864"/>
              <dgm:constr type="t" for="ch" forName="Text4" refType="h" fact="0.6132"/>
              <dgm:constr type="w" for="ch" forName="Text4" refType="w" fact="0.1045"/>
              <dgm:constr type="h" for="ch" forName="Text4" refType="h" fact="0.0709"/>
            </dgm:constrLst>
          </dgm:if>
          <dgm:else name="Name17">
            <dgm:alg type="composite">
              <dgm:param type="ar" val="1.1999"/>
            </dgm:alg>
            <dgm:constrLst>
              <dgm:constr type="primFontSz" for="des" forName="Text1" val="65"/>
              <dgm:constr type="primFontSz" for="des" forName="Text2" refType="primFontSz" refFor="des" refForName="Text1" op="equ"/>
              <dgm:constr type="primFontSz" for="des" forName="Text3" refType="primFontSz" refFor="des" refForName="Text1" op="equ"/>
              <dgm:constr type="primFontSz" for="des" forName="Text4" refType="primFontSz" refFor="des" refForName="Text1" op="equ"/>
              <dgm:constr type="primFontSz" for="des" forName="Text5" refType="primFontSz" refFor="des" refForName="Text1" op="equ"/>
              <dgm:constr type="primFontSz" for="des" forName="Text6" refType="primFontSz" refFor="des" refForName="Text1" op="equ"/>
              <dgm:constr type="r" for="ch" forName="Image1" refType="w" fact="0.8502"/>
              <dgm:constr type="t" for="ch" forName="Image1" refType="h" fact="0.2921"/>
              <dgm:constr type="w" for="ch" forName="Image1" refType="w" fact="0.5634"/>
              <dgm:constr type="h" for="ch" forName="Image1" refType="h" fact="0.417"/>
              <dgm:constr type="r" for="ch" forName="Accent1" refType="w" fact="0.8226"/>
              <dgm:constr type="t" for="ch" forName="Accent1" refType="h" fact="0.3236"/>
              <dgm:constr type="w" for="ch" forName="Accent1" refType="w" fact="0.5091"/>
              <dgm:constr type="h" for="ch" forName="Accent1" refType="h" fact="0.3515"/>
              <dgm:constr type="r" for="ch" forName="Image4" refType="w"/>
              <dgm:constr type="t" for="ch" forName="Image4" refType="h" fact="0.539"/>
              <dgm:constr type="w" for="ch" forName="Image4" refType="w" fact="0.1316"/>
              <dgm:constr type="h" for="ch" forName="Image4" refType="h" fact="0.1604"/>
              <dgm:constr type="r" for="ch" forName="Accent4" refType="w" fact="0.9864"/>
              <dgm:constr type="t" for="ch" forName="Accent4" refType="h" fact="0.5559"/>
              <dgm:constr type="w" for="ch" forName="Accent4" refType="w" fact="0.1045"/>
              <dgm:constr type="h" for="ch" forName="Accent4" refType="h" fact="0.1281"/>
              <dgm:constr type="r" for="ch" forName="Image5" refType="w" fact="0.3713"/>
              <dgm:constr type="t" for="ch" forName="Image5" refType="h" fact="0.7301"/>
              <dgm:constr type="w" for="ch" forName="Image5" refType="w" fact="0.2318"/>
              <dgm:constr type="h" for="ch" forName="Image5" refType="h" fact="0.2699"/>
              <dgm:constr type="r" for="ch" forName="Accent5" refType="w" fact="0.358"/>
              <dgm:constr type="t" for="ch" forName="Accent5" refType="h" fact="0.7467"/>
              <dgm:constr type="w" for="ch" forName="Accent5" refType="w" fact="0.2045"/>
              <dgm:constr type="h" for="ch" forName="Accent5" refType="h" fact="0.2371"/>
              <dgm:constr type="r" for="ch" forName="Image3" refType="w" fact="0.2682"/>
              <dgm:constr type="t" for="ch" forName="Image3" refType="h" fact="0.4536"/>
              <dgm:constr type="w" for="ch" forName="Image3" refType="w" fact="0.2682"/>
              <dgm:constr type="h" for="ch" forName="Image3" refType="h" fact="0.1989"/>
              <dgm:constr type="r" for="ch" forName="Accent3" refType="w" fact="0.2545"/>
              <dgm:constr type="t" for="ch" forName="Accent3" refType="h" fact="0.4701"/>
              <dgm:constr type="w" for="ch" forName="Accent3" refType="w" fact="0.2409"/>
              <dgm:constr type="h" for="ch" forName="Accent3" refType="h" fact="0.1662"/>
              <dgm:constr type="r" for="ch" forName="Image2" refType="w" fact="0.5056"/>
              <dgm:constr type="t" for="ch" forName="Image2" refType="h" fact="0"/>
              <dgm:constr type="w" for="ch" forName="Image2" refType="w" fact="0.2205"/>
              <dgm:constr type="h" for="ch" forName="Image2" refType="h" fact="0.2699"/>
              <dgm:constr type="r" for="ch" forName="Accent2" refType="w" fact="0.492"/>
              <dgm:constr type="t" for="ch" forName="Accent2" refType="h" fact="0.0164"/>
              <dgm:constr type="w" for="ch" forName="Accent2" refType="w" fact="0.1932"/>
              <dgm:constr type="h" for="ch" forName="Accent2" refType="h" fact="0.2371"/>
              <dgm:constr type="r" for="ch" forName="Text1" refType="w" fact="0.8226"/>
              <dgm:constr type="t" for="ch" forName="Text1" refType="h" fact="0.5695"/>
              <dgm:constr type="w" for="ch" forName="Text1" refType="w" fact="0.5091"/>
              <dgm:constr type="h" for="ch" forName="Text1" refType="h" fact="0.1063"/>
              <dgm:constr type="r" for="ch" forName="Image6" refType="w" fact="0.849"/>
              <dgm:constr type="t" for="ch" forName="Image6" refType="h" fact="0.7301"/>
              <dgm:constr type="w" for="ch" forName="Image6" refType="w" fact="0.2361"/>
              <dgm:constr type="h" for="ch" forName="Image6" refType="h" fact="0.1604"/>
              <dgm:constr type="r" for="ch" forName="Accent6" refType="w" fact="0.8352"/>
              <dgm:constr type="t" for="ch" forName="Accent6" refType="h" fact="0.7467"/>
              <dgm:constr type="w" for="ch" forName="Accent6" refType="w" fact="0.2091"/>
              <dgm:constr type="h" for="ch" forName="Accent6" refType="h" fact="0.1281"/>
              <dgm:constr type="r" for="ch" forName="Text2" refType="w" fact="0.4922"/>
              <dgm:constr type="t" for="ch" forName="Text2" refType="h" fact="0.1826"/>
              <dgm:constr type="w" for="ch" forName="Text2" refType="w" fact="0.1932"/>
              <dgm:constr type="h" for="ch" forName="Text2" refType="h" fact="0.0709"/>
              <dgm:constr type="r" for="ch" forName="Text3" refType="w" fact="0.2545"/>
              <dgm:constr type="t" for="ch" forName="Text3" refType="h" fact="0.5655"/>
              <dgm:constr type="w" for="ch" forName="Text3" refType="w" fact="0.2409"/>
              <dgm:constr type="h" for="ch" forName="Text3" refType="h" fact="0.0709"/>
              <dgm:constr type="r" for="ch" forName="Text5" refType="w" fact="0.358"/>
              <dgm:constr type="t" for="ch" forName="Text5" refType="h" fact="0.9129"/>
              <dgm:constr type="w" for="ch" forName="Text5" refType="w" fact="0.2045"/>
              <dgm:constr type="h" for="ch" forName="Text5" refType="h" fact="0.0709"/>
              <dgm:constr type="r" for="ch" forName="Text6" refType="w" fact="0.8352"/>
              <dgm:constr type="t" for="ch" forName="Text6" refType="h" fact="0.8039"/>
              <dgm:constr type="w" for="ch" forName="Text6" refType="w" fact="0.2091"/>
              <dgm:constr type="h" for="ch" forName="Text6" refType="h" fact="0.0709"/>
              <dgm:constr type="r" for="ch" forName="Text4" refType="w" fact="0.9864"/>
              <dgm:constr type="t" for="ch" forName="Text4" refType="h" fact="0.6132"/>
              <dgm:constr type="w" for="ch" forName="Text4" refType="w" fact="0.1045"/>
              <dgm:constr type="h" for="ch" forName="Text4" refType="h" fact="0.0709"/>
            </dgm:constrLst>
          </dgm:else>
        </dgm:choose>
      </dgm:else>
    </dgm:choose>
    <dgm:forEach name="wrapper" axis="self" ptType="parTrans">
      <dgm:forEach name="ImageRepeat" axis="self">
        <dgm:layoutNode name="Image" styleLbl="alignImgPlace1">
          <dgm:alg type="sp"/>
          <dgm:shape xmlns:r="http://schemas.openxmlformats.org/officeDocument/2006/relationships" type="rect" r:blip="" blipPhldr="1">
            <dgm:adjLst/>
          </dgm:shape>
          <dgm:presOf/>
        </dgm:layoutNode>
      </dgm:forEach>
      <dgm:forEach name="accentRepeat" axis="self">
        <dgm:layoutNode name="Accent" styleLbl="parChTrans1D1">
          <dgm:alg type="sp"/>
          <dgm:shape xmlns:r="http://schemas.openxmlformats.org/officeDocument/2006/relationships" type="rect" r:blip="">
            <dgm:adjLst/>
          </dgm:shape>
          <dgm:presOf/>
        </dgm:layoutNode>
      </dgm:forEach>
    </dgm:forEach>
    <dgm:forEach name="Name18" axis="ch" ptType="node" cnt="1">
      <dgm:layoutNode name="Image1">
        <dgm:alg type="sp"/>
        <dgm:shape xmlns:r="http://schemas.openxmlformats.org/officeDocument/2006/relationships" r:blip="">
          <dgm:adjLst/>
        </dgm:shape>
        <dgm:presOf/>
        <dgm:forEach name="Name19" ref="ImageRepeat"/>
      </dgm:layoutNode>
      <dgm:layoutNode name="Accent1">
        <dgm:alg type="sp"/>
        <dgm:shape xmlns:r="http://schemas.openxmlformats.org/officeDocument/2006/relationships" r:blip="">
          <dgm:adjLst/>
        </dgm:shape>
        <dgm:presOf/>
        <dgm:constrLst/>
        <dgm:forEach name="Name20" ref="accentRepeat"/>
      </dgm:layoutNode>
      <dgm:layoutNode name="Text1" styleLbl="alignImgPlace1">
        <dgm:varLst>
          <dgm:chMax val="0"/>
          <dgm:chPref val="0"/>
          <dgm:bulletEnabled val="1"/>
        </dgm:varLst>
        <dgm:alg type="tx">
          <dgm:param type="parTxLTRAlign" val="r"/>
          <dgm:param type="shpTxLTRAlignCh" val="r"/>
          <dgm:param type="txAnchorVert" val="b"/>
          <dgm:param type="txAnchorVertCh" val="b"/>
          <dgm:param type="lnSpPar" val="100"/>
        </dgm:alg>
        <dgm:shape xmlns:r="http://schemas.openxmlformats.org/officeDocument/2006/relationships" type="rect" r:blip="" hideGeom="1">
          <dgm:adjLst/>
        </dgm:shape>
        <dgm:presOf axis="desOrSelf" ptType="node"/>
        <dgm:constrLst>
          <dgm:constr type="lMarg" refType="primFontSz" fact="0.15"/>
          <dgm:constr type="rMarg" refType="primFontSz" fact="0.15"/>
          <dgm:constr type="tMarg" refType="primFontSz" fact="0.05"/>
          <dgm:constr type="bMarg" refType="primFontSz" fact="0"/>
        </dgm:constrLst>
        <dgm:ruleLst>
          <dgm:rule type="primFontSz" val="5" fact="NaN" max="NaN"/>
        </dgm:ruleLst>
      </dgm:layoutNode>
    </dgm:forEach>
    <dgm:forEach name="Name21" axis="ch" ptType="node" st="2" cnt="1">
      <dgm:layoutNode name="Image2">
        <dgm:alg type="sp"/>
        <dgm:shape xmlns:r="http://schemas.openxmlformats.org/officeDocument/2006/relationships" r:blip="">
          <dgm:adjLst/>
        </dgm:shape>
        <dgm:presOf/>
        <dgm:forEach name="Name22" ref="ImageRepeat"/>
      </dgm:layoutNode>
      <dgm:layoutNode name="Accent2">
        <dgm:alg type="sp"/>
        <dgm:shape xmlns:r="http://schemas.openxmlformats.org/officeDocument/2006/relationships" r:blip="">
          <dgm:adjLst/>
        </dgm:shape>
        <dgm:presOf/>
        <dgm:constrLst/>
        <dgm:forEach name="Name23" ref="accentRepeat"/>
      </dgm:layoutNode>
      <dgm:layoutNode name="Text2" styleLbl="alignImgPlace1">
        <dgm:varLst>
          <dgm:chMax val="0"/>
          <dgm:chPref val="0"/>
          <dgm:bulletEnabled val="1"/>
        </dgm:varLst>
        <dgm:alg type="tx">
          <dgm:param type="parTxLTRAlign" val="r"/>
          <dgm:param type="shpTxLTRAlignCh" val="r"/>
          <dgm:param type="txAnchorVert" val="b"/>
          <dgm:param type="txAnchorVertCh" val="b"/>
        </dgm:alg>
        <dgm:shape xmlns:r="http://schemas.openxmlformats.org/officeDocument/2006/relationships" type="rect" r:blip="" hideGeom="1">
          <dgm:adjLst/>
        </dgm:shape>
        <dgm:presOf axis="desOrSelf" ptType="node"/>
        <dgm:constrLst>
          <dgm:constr type="lMarg" refType="primFontSz" fact="0.15"/>
          <dgm:constr type="rMarg" refType="primFontSz" fact="0.15"/>
          <dgm:constr type="tMarg" refType="primFontSz" fact="0.05"/>
          <dgm:constr type="bMarg" refType="primFontSz" fact="0"/>
        </dgm:constrLst>
        <dgm:ruleLst>
          <dgm:rule type="primFontSz" val="5" fact="NaN" max="NaN"/>
        </dgm:ruleLst>
      </dgm:layoutNode>
    </dgm:forEach>
    <dgm:forEach name="Name24" axis="ch" ptType="node" st="3" cnt="1">
      <dgm:layoutNode name="Image3">
        <dgm:alg type="sp"/>
        <dgm:shape xmlns:r="http://schemas.openxmlformats.org/officeDocument/2006/relationships" r:blip="">
          <dgm:adjLst/>
        </dgm:shape>
        <dgm:presOf/>
        <dgm:forEach name="Name25" ref="ImageRepeat"/>
      </dgm:layoutNode>
      <dgm:layoutNode name="Accent3">
        <dgm:alg type="sp"/>
        <dgm:shape xmlns:r="http://schemas.openxmlformats.org/officeDocument/2006/relationships" r:blip="">
          <dgm:adjLst/>
        </dgm:shape>
        <dgm:presOf/>
        <dgm:constrLst/>
        <dgm:forEach name="Name26" ref="accentRepeat"/>
      </dgm:layoutNode>
      <dgm:layoutNode name="Text3" styleLbl="alignImgPlace1">
        <dgm:varLst>
          <dgm:chMax val="0"/>
          <dgm:chPref val="0"/>
          <dgm:bulletEnabled val="1"/>
        </dgm:varLst>
        <dgm:alg type="tx">
          <dgm:param type="parTxLTRAlign" val="r"/>
          <dgm:param type="shpTxLTRAlignCh" val="r"/>
          <dgm:param type="txAnchorVert" val="b"/>
          <dgm:param type="txAnchorVertCh" val="b"/>
        </dgm:alg>
        <dgm:shape xmlns:r="http://schemas.openxmlformats.org/officeDocument/2006/relationships" type="rect" r:blip="" hideGeom="1">
          <dgm:adjLst/>
        </dgm:shape>
        <dgm:presOf axis="desOrSelf" ptType="node"/>
        <dgm:constrLst>
          <dgm:constr type="lMarg" refType="primFontSz" fact="0.15"/>
          <dgm:constr type="rMarg" refType="primFontSz" fact="0.15"/>
          <dgm:constr type="tMarg" refType="primFontSz" fact="0.05"/>
          <dgm:constr type="bMarg" refType="primFontSz" fact="0"/>
        </dgm:constrLst>
        <dgm:ruleLst>
          <dgm:rule type="primFontSz" val="5" fact="NaN" max="NaN"/>
        </dgm:ruleLst>
      </dgm:layoutNode>
    </dgm:forEach>
    <dgm:forEach name="Name27" axis="ch" ptType="node" st="4" cnt="1">
      <dgm:layoutNode name="Image4">
        <dgm:alg type="sp"/>
        <dgm:shape xmlns:r="http://schemas.openxmlformats.org/officeDocument/2006/relationships" r:blip="">
          <dgm:adjLst/>
        </dgm:shape>
        <dgm:presOf/>
        <dgm:forEach name="Name28" ref="ImageRepeat"/>
      </dgm:layoutNode>
      <dgm:layoutNode name="Accent4">
        <dgm:alg type="sp"/>
        <dgm:shape xmlns:r="http://schemas.openxmlformats.org/officeDocument/2006/relationships" r:blip="">
          <dgm:adjLst/>
        </dgm:shape>
        <dgm:presOf/>
        <dgm:constrLst/>
        <dgm:forEach name="Name29" ref="accentRepeat"/>
      </dgm:layoutNode>
      <dgm:layoutNode name="Text4" styleLbl="alignImgPlace1">
        <dgm:varLst>
          <dgm:chMax val="0"/>
          <dgm:chPref val="0"/>
          <dgm:bulletEnabled val="1"/>
        </dgm:varLst>
        <dgm:alg type="tx">
          <dgm:param type="parTxLTRAlign" val="r"/>
          <dgm:param type="shpTxLTRAlignCh" val="r"/>
          <dgm:param type="txAnchorVert" val="b"/>
          <dgm:param type="txAnchorVertCh" val="b"/>
        </dgm:alg>
        <dgm:shape xmlns:r="http://schemas.openxmlformats.org/officeDocument/2006/relationships" type="rect" r:blip="" hideGeom="1">
          <dgm:adjLst/>
        </dgm:shape>
        <dgm:presOf axis="desOrSelf" ptType="node"/>
        <dgm:constrLst>
          <dgm:constr type="lMarg" refType="primFontSz" fact="0.15"/>
          <dgm:constr type="rMarg" refType="primFontSz" fact="0.15"/>
          <dgm:constr type="tMarg" refType="primFontSz" fact="0.05"/>
          <dgm:constr type="bMarg" refType="primFontSz" fact="0"/>
        </dgm:constrLst>
        <dgm:ruleLst>
          <dgm:rule type="primFontSz" val="5" fact="NaN" max="NaN"/>
        </dgm:ruleLst>
      </dgm:layoutNode>
    </dgm:forEach>
    <dgm:forEach name="Name30" axis="ch" ptType="node" st="5" cnt="1">
      <dgm:layoutNode name="Image5">
        <dgm:alg type="sp"/>
        <dgm:shape xmlns:r="http://schemas.openxmlformats.org/officeDocument/2006/relationships" r:blip="">
          <dgm:adjLst/>
        </dgm:shape>
        <dgm:presOf/>
        <dgm:forEach name="Name31" ref="ImageRepeat"/>
      </dgm:layoutNode>
      <dgm:layoutNode name="Accent5">
        <dgm:alg type="sp"/>
        <dgm:shape xmlns:r="http://schemas.openxmlformats.org/officeDocument/2006/relationships" r:blip="">
          <dgm:adjLst/>
        </dgm:shape>
        <dgm:presOf/>
        <dgm:constrLst/>
        <dgm:forEach name="Name32" ref="accentRepeat"/>
      </dgm:layoutNode>
      <dgm:layoutNode name="Text5" styleLbl="alignImgPlace1">
        <dgm:varLst>
          <dgm:chMax val="0"/>
          <dgm:chPref val="0"/>
          <dgm:bulletEnabled val="1"/>
        </dgm:varLst>
        <dgm:alg type="tx">
          <dgm:param type="parTxLTRAlign" val="r"/>
          <dgm:param type="shpTxLTRAlignCh" val="r"/>
          <dgm:param type="txAnchorVert" val="b"/>
          <dgm:param type="txAnchorVertCh" val="b"/>
        </dgm:alg>
        <dgm:shape xmlns:r="http://schemas.openxmlformats.org/officeDocument/2006/relationships" type="rect" r:blip="" hideGeom="1">
          <dgm:adjLst/>
        </dgm:shape>
        <dgm:presOf axis="desOrSelf" ptType="node"/>
        <dgm:constrLst>
          <dgm:constr type="lMarg" refType="primFontSz" fact="0.15"/>
          <dgm:constr type="rMarg" refType="primFontSz" fact="0.15"/>
          <dgm:constr type="tMarg" refType="primFontSz" fact="0.05"/>
          <dgm:constr type="bMarg" refType="primFontSz" fact="0"/>
        </dgm:constrLst>
        <dgm:ruleLst>
          <dgm:rule type="primFontSz" val="5" fact="NaN" max="NaN"/>
        </dgm:ruleLst>
      </dgm:layoutNode>
    </dgm:forEach>
    <dgm:forEach name="Name33" axis="ch" ptType="node" st="6" cnt="1">
      <dgm:layoutNode name="Image6">
        <dgm:alg type="sp"/>
        <dgm:shape xmlns:r="http://schemas.openxmlformats.org/officeDocument/2006/relationships" r:blip="">
          <dgm:adjLst/>
        </dgm:shape>
        <dgm:presOf/>
        <dgm:forEach name="Name34" ref="ImageRepeat"/>
      </dgm:layoutNode>
      <dgm:layoutNode name="Accent6">
        <dgm:alg type="sp"/>
        <dgm:shape xmlns:r="http://schemas.openxmlformats.org/officeDocument/2006/relationships" r:blip="">
          <dgm:adjLst/>
        </dgm:shape>
        <dgm:presOf/>
        <dgm:constrLst/>
        <dgm:forEach name="Name35" ref="accentRepeat"/>
      </dgm:layoutNode>
      <dgm:layoutNode name="Text6" styleLbl="alignImgPlace1">
        <dgm:varLst>
          <dgm:chMax val="0"/>
          <dgm:chPref val="0"/>
          <dgm:bulletEnabled val="1"/>
        </dgm:varLst>
        <dgm:alg type="tx">
          <dgm:param type="parTxLTRAlign" val="r"/>
          <dgm:param type="shpTxLTRAlignCh" val="r"/>
          <dgm:param type="txAnchorVert" val="b"/>
          <dgm:param type="txAnchorVertCh" val="b"/>
        </dgm:alg>
        <dgm:shape xmlns:r="http://schemas.openxmlformats.org/officeDocument/2006/relationships" type="rect" r:blip="" hideGeom="1">
          <dgm:adjLst/>
        </dgm:shape>
        <dgm:presOf axis="desOrSelf" ptType="node"/>
        <dgm:constrLst>
          <dgm:constr type="lMarg" refType="primFontSz" fact="0.15"/>
          <dgm:constr type="rMarg" refType="primFontSz" fact="0.15"/>
          <dgm:constr type="tMarg" refType="primFontSz" fact="0.05"/>
          <dgm:constr type="bMarg" refType="primFontSz" fact="0"/>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cdr:y>
    </cdr:from>
    <cdr:to>
      <cdr:x>1</cdr:x>
      <cdr:y>0.15594</cdr:y>
    </cdr:to>
    <cdr:sp macro="" textlink="">
      <cdr:nvSpPr>
        <cdr:cNvPr id="2" name="TextBox 1">
          <a:extLst xmlns:a="http://schemas.openxmlformats.org/drawingml/2006/main">
            <a:ext uri="{FF2B5EF4-FFF2-40B4-BE49-F238E27FC236}">
              <a16:creationId xmlns:a16="http://schemas.microsoft.com/office/drawing/2014/main" id="{11E9B921-A8D0-AA04-2D5E-471AD5827346}"/>
            </a:ext>
          </a:extLst>
        </cdr:cNvPr>
        <cdr:cNvSpPr txBox="1"/>
      </cdr:nvSpPr>
      <cdr:spPr>
        <a:xfrm xmlns:a="http://schemas.openxmlformats.org/drawingml/2006/main">
          <a:off x="-246993" y="0"/>
          <a:ext cx="5433844" cy="583849"/>
        </a:xfrm>
        <a:prstGeom xmlns:a="http://schemas.openxmlformats.org/drawingml/2006/main" prst="rect">
          <a:avLst/>
        </a:prstGeom>
        <a:solidFill xmlns:a="http://schemas.openxmlformats.org/drawingml/2006/main">
          <a:schemeClr val="accent2">
            <a:lumMod val="20000"/>
            <a:lumOff val="80000"/>
          </a:schemeClr>
        </a:solidFill>
      </cdr:spPr>
      <cdr:txBody>
        <a:bodyPr xmlns:a="http://schemas.openxmlformats.org/drawingml/2006/main" vertOverflow="clip" wrap="none" rtlCol="0"/>
        <a:lstStyle xmlns:a="http://schemas.openxmlformats.org/drawingml/2006/main"/>
        <a:p xmlns:a="http://schemas.openxmlformats.org/drawingml/2006/main">
          <a:pPr algn="ctr" rtl="0"/>
          <a:r>
            <a:rPr lang="nl-BE" sz="1800" b="1" dirty="0"/>
            <a:t>The </a:t>
          </a:r>
          <a:r>
            <a:rPr lang="nl-BE" sz="1800" b="1" dirty="0" err="1"/>
            <a:t>growth</a:t>
          </a:r>
          <a:r>
            <a:rPr lang="nl-BE" sz="1800" b="1" dirty="0"/>
            <a:t> ( in 2021 </a:t>
          </a:r>
          <a:r>
            <a:rPr lang="nl-BE" sz="1800" b="1" dirty="0" err="1"/>
            <a:t>spectacular</a:t>
          </a:r>
          <a:r>
            <a:rPr lang="nl-BE" sz="1800" b="1" dirty="0"/>
            <a:t>) of </a:t>
          </a:r>
          <a:r>
            <a:rPr lang="nl-BE" sz="1800" b="1" dirty="0" err="1"/>
            <a:t>the</a:t>
          </a:r>
          <a:r>
            <a:rPr lang="nl-BE" sz="1800" b="1" dirty="0"/>
            <a:t> sales</a:t>
          </a:r>
          <a:r>
            <a:rPr lang="nl-BE" sz="1800" b="1" baseline="0" dirty="0"/>
            <a:t> </a:t>
          </a:r>
          <a:br>
            <a:rPr lang="nl-BE" sz="1800" b="1" baseline="0" dirty="0"/>
          </a:br>
          <a:r>
            <a:rPr lang="nl-BE" sz="1800" b="1" baseline="0" dirty="0"/>
            <a:t>of </a:t>
          </a:r>
          <a:r>
            <a:rPr lang="nl-BE" sz="1800" b="1" baseline="0" dirty="0" err="1"/>
            <a:t>our</a:t>
          </a:r>
          <a:r>
            <a:rPr lang="nl-BE" sz="1800" b="1" baseline="0" dirty="0"/>
            <a:t> new </a:t>
          </a:r>
          <a:r>
            <a:rPr lang="nl-BE" sz="1800" b="1" baseline="0" dirty="0" err="1"/>
            <a:t>branch</a:t>
          </a:r>
          <a:r>
            <a:rPr lang="nl-BE" sz="1800" b="1" baseline="0" dirty="0"/>
            <a:t> in Oostende </a:t>
          </a:r>
          <a:endParaRPr lang="nl-BE" sz="1800" b="1" dirty="0"/>
        </a:p>
        <a:p xmlns:a="http://schemas.openxmlformats.org/drawingml/2006/main">
          <a:endParaRPr lang="en-GB" sz="18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500" cy="50165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902075" y="0"/>
            <a:ext cx="2984500" cy="501650"/>
          </a:xfrm>
          <a:prstGeom prst="rect">
            <a:avLst/>
          </a:prstGeom>
        </p:spPr>
        <p:txBody>
          <a:bodyPr vert="horz" lIns="91440" tIns="45720" rIns="91440" bIns="45720" rtlCol="0"/>
          <a:lstStyle>
            <a:lvl1pPr algn="r">
              <a:defRPr sz="1200"/>
            </a:lvl1pPr>
          </a:lstStyle>
          <a:p>
            <a:fld id="{FDC69FB9-5998-4380-B377-C8716954ACA1}" type="datetimeFigureOut">
              <a:rPr lang="en-GB" smtClean="0"/>
              <a:t>04/03/2024</a:t>
            </a:fld>
            <a:endParaRPr lang="en-GB"/>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8975" y="4821238"/>
            <a:ext cx="5510213" cy="39449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517063"/>
            <a:ext cx="2984500" cy="50165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902075" y="9517063"/>
            <a:ext cx="2984500" cy="501650"/>
          </a:xfrm>
          <a:prstGeom prst="rect">
            <a:avLst/>
          </a:prstGeom>
        </p:spPr>
        <p:txBody>
          <a:bodyPr vert="horz" lIns="91440" tIns="45720" rIns="91440" bIns="45720" rtlCol="0" anchor="b"/>
          <a:lstStyle>
            <a:lvl1pPr algn="r">
              <a:defRPr sz="1200"/>
            </a:lvl1pPr>
          </a:lstStyle>
          <a:p>
            <a:fld id="{A1A46AB1-1683-41E0-A854-A1B5AC95CB72}" type="slidenum">
              <a:rPr lang="en-GB" smtClean="0"/>
              <a:t>‹#›</a:t>
            </a:fld>
            <a:endParaRPr lang="en-GB"/>
          </a:p>
        </p:txBody>
      </p:sp>
    </p:spTree>
    <p:extLst>
      <p:ext uri="{BB962C8B-B14F-4D97-AF65-F5344CB8AC3E}">
        <p14:creationId xmlns:p14="http://schemas.microsoft.com/office/powerpoint/2010/main" val="534953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1</a:t>
            </a:fld>
            <a:endParaRPr lang="en-GB"/>
          </a:p>
        </p:txBody>
      </p:sp>
    </p:spTree>
    <p:extLst>
      <p:ext uri="{BB962C8B-B14F-4D97-AF65-F5344CB8AC3E}">
        <p14:creationId xmlns:p14="http://schemas.microsoft.com/office/powerpoint/2010/main" val="32743530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10</a:t>
            </a:fld>
            <a:endParaRPr lang="en-GB" dirty="0"/>
          </a:p>
        </p:txBody>
      </p:sp>
    </p:spTree>
    <p:extLst>
      <p:ext uri="{BB962C8B-B14F-4D97-AF65-F5344CB8AC3E}">
        <p14:creationId xmlns:p14="http://schemas.microsoft.com/office/powerpoint/2010/main" val="25017385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11</a:t>
            </a:fld>
            <a:endParaRPr lang="en-GB" dirty="0"/>
          </a:p>
        </p:txBody>
      </p:sp>
    </p:spTree>
    <p:extLst>
      <p:ext uri="{BB962C8B-B14F-4D97-AF65-F5344CB8AC3E}">
        <p14:creationId xmlns:p14="http://schemas.microsoft.com/office/powerpoint/2010/main" val="134048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12</a:t>
            </a:fld>
            <a:endParaRPr lang="en-GB" dirty="0"/>
          </a:p>
        </p:txBody>
      </p:sp>
    </p:spTree>
    <p:extLst>
      <p:ext uri="{BB962C8B-B14F-4D97-AF65-F5344CB8AC3E}">
        <p14:creationId xmlns:p14="http://schemas.microsoft.com/office/powerpoint/2010/main" val="39560801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ibbons</a:t>
            </a:r>
          </a:p>
          <a:p>
            <a:r>
              <a:rPr lang="en-GB" dirty="0"/>
              <a:t>Views</a:t>
            </a:r>
          </a:p>
          <a:p>
            <a:r>
              <a:rPr lang="en-GB" dirty="0"/>
              <a:t>Quick access toolbar</a:t>
            </a:r>
          </a:p>
          <a:p>
            <a:r>
              <a:rPr lang="en-GB" dirty="0"/>
              <a:t>Backstage and options</a:t>
            </a:r>
          </a:p>
          <a:p>
            <a:r>
              <a:rPr lang="en-GB" dirty="0"/>
              <a:t>File formats</a:t>
            </a:r>
          </a:p>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13</a:t>
            </a:fld>
            <a:endParaRPr lang="en-GB" dirty="0"/>
          </a:p>
        </p:txBody>
      </p:sp>
    </p:spTree>
    <p:extLst>
      <p:ext uri="{BB962C8B-B14F-4D97-AF65-F5344CB8AC3E}">
        <p14:creationId xmlns:p14="http://schemas.microsoft.com/office/powerpoint/2010/main" val="39560801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15</a:t>
            </a:fld>
            <a:endParaRPr lang="en-GB" dirty="0"/>
          </a:p>
        </p:txBody>
      </p:sp>
    </p:spTree>
    <p:extLst>
      <p:ext uri="{BB962C8B-B14F-4D97-AF65-F5344CB8AC3E}">
        <p14:creationId xmlns:p14="http://schemas.microsoft.com/office/powerpoint/2010/main" val="4431813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BE" dirty="0"/>
              <a:t>Designer </a:t>
            </a:r>
            <a:r>
              <a:rPr lang="nl-BE" dirty="0" err="1"/>
              <a:t>idea</a:t>
            </a:r>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16</a:t>
            </a:fld>
            <a:endParaRPr lang="en-GB"/>
          </a:p>
        </p:txBody>
      </p:sp>
    </p:spTree>
    <p:extLst>
      <p:ext uri="{BB962C8B-B14F-4D97-AF65-F5344CB8AC3E}">
        <p14:creationId xmlns:p14="http://schemas.microsoft.com/office/powerpoint/2010/main" val="3279422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bjects &amp; manipulations:</a:t>
            </a:r>
          </a:p>
          <a:p>
            <a:pPr marL="171450" lvl="0" indent="-171450">
              <a:buFont typeface="Arial" panose="020B0604020202020204" pitchFamily="34" charset="0"/>
              <a:buChar char="•"/>
            </a:pPr>
            <a:r>
              <a:rPr lang="en-GB" sz="1200" dirty="0">
                <a:latin typeface="Verdana"/>
              </a:rPr>
              <a:t>Selections</a:t>
            </a:r>
          </a:p>
          <a:p>
            <a:pPr marL="171450" lvl="0" indent="-171450">
              <a:buFont typeface="Arial" panose="020B0604020202020204" pitchFamily="34" charset="0"/>
              <a:buChar char="•"/>
            </a:pPr>
            <a:r>
              <a:rPr lang="en-GB" sz="1200" dirty="0">
                <a:latin typeface="Verdana"/>
              </a:rPr>
              <a:t>Moving</a:t>
            </a:r>
          </a:p>
          <a:p>
            <a:pPr marL="171450" lvl="0" indent="-171450">
              <a:buFont typeface="Arial" panose="020B0604020202020204" pitchFamily="34" charset="0"/>
              <a:buChar char="•"/>
            </a:pPr>
            <a:r>
              <a:rPr lang="en-GB" sz="1200" dirty="0">
                <a:latin typeface="Verdana"/>
              </a:rPr>
              <a:t>Aligning</a:t>
            </a:r>
          </a:p>
          <a:p>
            <a:pPr marL="171450" lvl="0" indent="-171450">
              <a:buFont typeface="Arial" panose="020B0604020202020204" pitchFamily="34" charset="0"/>
              <a:buChar char="•"/>
            </a:pPr>
            <a:r>
              <a:rPr lang="en-GB" sz="1200" dirty="0">
                <a:latin typeface="Verdana"/>
              </a:rPr>
              <a:t>Ordering</a:t>
            </a:r>
          </a:p>
          <a:p>
            <a:pPr marL="171450" lvl="0" indent="-171450">
              <a:buFont typeface="Arial" panose="020B0604020202020204" pitchFamily="34" charset="0"/>
              <a:buChar char="•"/>
            </a:pPr>
            <a:r>
              <a:rPr lang="en-GB" sz="1200" dirty="0">
                <a:latin typeface="Verdana"/>
              </a:rPr>
              <a:t>Grouping</a:t>
            </a:r>
          </a:p>
          <a:p>
            <a:pPr marL="171450" indent="-171450">
              <a:buFont typeface="Arial" panose="020B0604020202020204" pitchFamily="34" charset="0"/>
              <a:buChar char="•"/>
            </a:pPr>
            <a:r>
              <a:rPr lang="en-GB" dirty="0"/>
              <a:t>Resizing </a:t>
            </a:r>
          </a:p>
          <a:p>
            <a:pPr marL="171450" indent="-171450">
              <a:buFont typeface="Arial" panose="020B0604020202020204" pitchFamily="34" charset="0"/>
              <a:buChar char="•"/>
            </a:pPr>
            <a:r>
              <a:rPr lang="en-GB" dirty="0"/>
              <a:t>Transforming</a:t>
            </a:r>
          </a:p>
          <a:p>
            <a:pPr marL="171450" indent="-171450">
              <a:buFont typeface="Arial" panose="020B0604020202020204" pitchFamily="34" charset="0"/>
              <a:buChar char="•"/>
            </a:pPr>
            <a:r>
              <a:rPr lang="en-GB" dirty="0"/>
              <a:t>Distributing</a:t>
            </a:r>
          </a:p>
          <a:p>
            <a:pPr marL="171450" indent="-171450">
              <a:buFont typeface="Arial" panose="020B0604020202020204" pitchFamily="34" charset="0"/>
              <a:buChar char="•"/>
            </a:pPr>
            <a:r>
              <a:rPr lang="en-GB" dirty="0"/>
              <a:t>Rotating</a:t>
            </a:r>
          </a:p>
          <a:p>
            <a:r>
              <a:rPr lang="en-GB" dirty="0"/>
              <a:t>Text: </a:t>
            </a:r>
          </a:p>
          <a:p>
            <a:pPr marL="171450" indent="-171450">
              <a:buFont typeface="Arial" panose="020B0604020202020204" pitchFamily="34" charset="0"/>
              <a:buChar char="•"/>
            </a:pPr>
            <a:r>
              <a:rPr lang="en-GB" dirty="0"/>
              <a:t>placeholder text and free text </a:t>
            </a:r>
          </a:p>
          <a:p>
            <a:pPr marL="171450" indent="-171450">
              <a:buFont typeface="Arial" panose="020B0604020202020204" pitchFamily="34" charset="0"/>
              <a:buChar char="•"/>
            </a:pPr>
            <a:r>
              <a:rPr lang="en-GB" dirty="0">
                <a:latin typeface="Verdana"/>
              </a:rPr>
              <a:t>Outline View</a:t>
            </a:r>
          </a:p>
          <a:p>
            <a:pPr marL="171450" indent="-171450">
              <a:buFont typeface="Arial" panose="020B0604020202020204" pitchFamily="34" charset="0"/>
              <a:buChar char="•"/>
            </a:pPr>
            <a:r>
              <a:rPr lang="en-GB" dirty="0">
                <a:latin typeface="Verdana"/>
              </a:rPr>
              <a:t>Tabulations and margins</a:t>
            </a:r>
          </a:p>
          <a:p>
            <a:pPr marL="171450" indent="-171450">
              <a:buFont typeface="Arial" panose="020B0604020202020204" pitchFamily="34" charset="0"/>
              <a:buChar char="•"/>
            </a:pPr>
            <a:r>
              <a:rPr lang="en-GB" dirty="0">
                <a:latin typeface="Verdana"/>
              </a:rPr>
              <a:t>Multi columns</a:t>
            </a:r>
          </a:p>
          <a:p>
            <a:pPr marL="171450" indent="-171450">
              <a:buFont typeface="Arial" panose="020B0604020202020204" pitchFamily="34" charset="0"/>
              <a:buChar char="•"/>
            </a:pPr>
            <a:r>
              <a:rPr lang="en-GB" dirty="0">
                <a:latin typeface="Verdana"/>
              </a:rPr>
              <a:t>Special text effects</a:t>
            </a:r>
          </a:p>
          <a:p>
            <a:r>
              <a:rPr lang="en-GB" dirty="0"/>
              <a:t>Im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Beware of re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Type of forma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err="1"/>
              <a:t>Photoalbum</a:t>
            </a: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ha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Choose correct chart form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Import / Link from Excel</a:t>
            </a:r>
          </a:p>
          <a:p>
            <a:r>
              <a:rPr lang="en-GB" dirty="0"/>
              <a:t>Shapes:</a:t>
            </a:r>
          </a:p>
          <a:p>
            <a:r>
              <a:rPr lang="en-GB" dirty="0" err="1"/>
              <a:t>Autoshapes</a:t>
            </a:r>
            <a:endParaRPr lang="en-GB" dirty="0"/>
          </a:p>
          <a:p>
            <a:pPr marL="171450" indent="-171450">
              <a:buFont typeface="Arial" panose="020B0604020202020204" pitchFamily="34" charset="0"/>
              <a:buChar char="•"/>
            </a:pPr>
            <a:r>
              <a:rPr lang="en-GB" dirty="0"/>
              <a:t>Defaults</a:t>
            </a:r>
          </a:p>
          <a:p>
            <a:pPr marL="171450" indent="-171450">
              <a:buFont typeface="Arial" panose="020B0604020202020204" pitchFamily="34" charset="0"/>
              <a:buChar char="•"/>
            </a:pPr>
            <a:r>
              <a:rPr lang="en-GB" dirty="0"/>
              <a:t>Connector lines</a:t>
            </a:r>
          </a:p>
          <a:p>
            <a:r>
              <a:rPr lang="en-GB" dirty="0"/>
              <a:t>Tables:</a:t>
            </a:r>
          </a:p>
          <a:p>
            <a:r>
              <a:rPr lang="en-GB" dirty="0"/>
              <a:t>Row – columns colouring</a:t>
            </a:r>
          </a:p>
          <a:p>
            <a:r>
              <a:rPr lang="en-GB" dirty="0"/>
              <a:t>Audio</a:t>
            </a:r>
          </a:p>
          <a:p>
            <a:r>
              <a:rPr lang="en-GB" dirty="0"/>
              <a:t>Vide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17</a:t>
            </a:fld>
            <a:endParaRPr lang="en-GB"/>
          </a:p>
        </p:txBody>
      </p:sp>
    </p:spTree>
    <p:extLst>
      <p:ext uri="{BB962C8B-B14F-4D97-AF65-F5344CB8AC3E}">
        <p14:creationId xmlns:p14="http://schemas.microsoft.com/office/powerpoint/2010/main" val="10891938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bjects &amp; manipulations:</a:t>
            </a:r>
          </a:p>
          <a:p>
            <a:pPr marL="171450" lvl="0" indent="-171450">
              <a:buFont typeface="Arial" panose="020B0604020202020204" pitchFamily="34" charset="0"/>
              <a:buChar char="•"/>
            </a:pPr>
            <a:r>
              <a:rPr lang="en-GB" sz="1200" dirty="0">
                <a:latin typeface="Verdana"/>
              </a:rPr>
              <a:t>Selections</a:t>
            </a:r>
          </a:p>
          <a:p>
            <a:pPr marL="171450" lvl="0" indent="-171450">
              <a:buFont typeface="Arial" panose="020B0604020202020204" pitchFamily="34" charset="0"/>
              <a:buChar char="•"/>
            </a:pPr>
            <a:r>
              <a:rPr lang="en-GB" sz="1200" dirty="0">
                <a:latin typeface="Verdana"/>
              </a:rPr>
              <a:t>Moving</a:t>
            </a:r>
          </a:p>
          <a:p>
            <a:pPr marL="171450" lvl="0" indent="-171450">
              <a:buFont typeface="Arial" panose="020B0604020202020204" pitchFamily="34" charset="0"/>
              <a:buChar char="•"/>
            </a:pPr>
            <a:r>
              <a:rPr lang="en-GB" sz="1200" dirty="0">
                <a:latin typeface="Verdana"/>
              </a:rPr>
              <a:t>Aligning</a:t>
            </a:r>
          </a:p>
          <a:p>
            <a:pPr marL="171450" lvl="0" indent="-171450">
              <a:buFont typeface="Arial" panose="020B0604020202020204" pitchFamily="34" charset="0"/>
              <a:buChar char="•"/>
            </a:pPr>
            <a:r>
              <a:rPr lang="en-GB" sz="1200" dirty="0">
                <a:latin typeface="Verdana"/>
              </a:rPr>
              <a:t>Ordering</a:t>
            </a:r>
          </a:p>
          <a:p>
            <a:pPr marL="171450" lvl="0" indent="-171450">
              <a:buFont typeface="Arial" panose="020B0604020202020204" pitchFamily="34" charset="0"/>
              <a:buChar char="•"/>
            </a:pPr>
            <a:r>
              <a:rPr lang="en-GB" sz="1200" dirty="0">
                <a:latin typeface="Verdana"/>
              </a:rPr>
              <a:t>Grouping</a:t>
            </a:r>
          </a:p>
          <a:p>
            <a:pPr marL="171450" indent="-171450">
              <a:buFont typeface="Arial" panose="020B0604020202020204" pitchFamily="34" charset="0"/>
              <a:buChar char="•"/>
            </a:pPr>
            <a:r>
              <a:rPr lang="en-GB" dirty="0"/>
              <a:t>Resizing </a:t>
            </a:r>
          </a:p>
          <a:p>
            <a:pPr marL="171450" indent="-171450">
              <a:buFont typeface="Arial" panose="020B0604020202020204" pitchFamily="34" charset="0"/>
              <a:buChar char="•"/>
            </a:pPr>
            <a:r>
              <a:rPr lang="en-GB" dirty="0"/>
              <a:t>Transforming</a:t>
            </a:r>
          </a:p>
          <a:p>
            <a:pPr marL="171450" indent="-171450">
              <a:buFont typeface="Arial" panose="020B0604020202020204" pitchFamily="34" charset="0"/>
              <a:buChar char="•"/>
            </a:pPr>
            <a:r>
              <a:rPr lang="en-GB" dirty="0"/>
              <a:t>Distributing</a:t>
            </a:r>
          </a:p>
          <a:p>
            <a:pPr marL="171450" indent="-171450">
              <a:buFont typeface="Arial" panose="020B0604020202020204" pitchFamily="34" charset="0"/>
              <a:buChar char="•"/>
            </a:pPr>
            <a:r>
              <a:rPr lang="en-GB" dirty="0"/>
              <a:t>Rotating</a:t>
            </a:r>
          </a:p>
          <a:p>
            <a:r>
              <a:rPr lang="en-GB" dirty="0"/>
              <a:t>Text: </a:t>
            </a:r>
          </a:p>
          <a:p>
            <a:pPr marL="171450" indent="-171450">
              <a:buFont typeface="Arial" panose="020B0604020202020204" pitchFamily="34" charset="0"/>
              <a:buChar char="•"/>
            </a:pPr>
            <a:r>
              <a:rPr lang="en-GB" dirty="0"/>
              <a:t>placeholder text and free text </a:t>
            </a:r>
          </a:p>
          <a:p>
            <a:pPr marL="171450" indent="-171450">
              <a:buFont typeface="Arial" panose="020B0604020202020204" pitchFamily="34" charset="0"/>
              <a:buChar char="•"/>
            </a:pPr>
            <a:r>
              <a:rPr lang="en-GB" dirty="0">
                <a:latin typeface="Verdana"/>
              </a:rPr>
              <a:t>Outline View</a:t>
            </a:r>
          </a:p>
          <a:p>
            <a:pPr marL="171450" indent="-171450">
              <a:buFont typeface="Arial" panose="020B0604020202020204" pitchFamily="34" charset="0"/>
              <a:buChar char="•"/>
            </a:pPr>
            <a:r>
              <a:rPr lang="en-GB" dirty="0">
                <a:latin typeface="Verdana"/>
              </a:rPr>
              <a:t>Tabulations and margins</a:t>
            </a:r>
          </a:p>
          <a:p>
            <a:pPr marL="171450" indent="-171450">
              <a:buFont typeface="Arial" panose="020B0604020202020204" pitchFamily="34" charset="0"/>
              <a:buChar char="•"/>
            </a:pPr>
            <a:r>
              <a:rPr lang="en-GB" dirty="0">
                <a:latin typeface="Verdana"/>
              </a:rPr>
              <a:t>Multi columns</a:t>
            </a:r>
          </a:p>
          <a:p>
            <a:pPr marL="171450" indent="-171450">
              <a:buFont typeface="Arial" panose="020B0604020202020204" pitchFamily="34" charset="0"/>
              <a:buChar char="•"/>
            </a:pPr>
            <a:r>
              <a:rPr lang="en-GB" dirty="0">
                <a:latin typeface="Verdana"/>
              </a:rPr>
              <a:t>Special text effects</a:t>
            </a:r>
          </a:p>
          <a:p>
            <a:r>
              <a:rPr lang="en-GB" dirty="0"/>
              <a:t>Im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Beware of resol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Type of forma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err="1"/>
              <a:t>Photoalbum</a:t>
            </a: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ha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Choose correct chart form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Import / Link from Excel</a:t>
            </a:r>
          </a:p>
          <a:p>
            <a:r>
              <a:rPr lang="en-GB" dirty="0"/>
              <a:t>Shapes:</a:t>
            </a:r>
          </a:p>
          <a:p>
            <a:r>
              <a:rPr lang="en-GB" dirty="0" err="1"/>
              <a:t>Autoshapes</a:t>
            </a:r>
            <a:endParaRPr lang="en-GB" dirty="0"/>
          </a:p>
          <a:p>
            <a:pPr marL="171450" indent="-171450">
              <a:buFont typeface="Arial" panose="020B0604020202020204" pitchFamily="34" charset="0"/>
              <a:buChar char="•"/>
            </a:pPr>
            <a:r>
              <a:rPr lang="en-GB" dirty="0"/>
              <a:t>Defaults</a:t>
            </a:r>
          </a:p>
          <a:p>
            <a:pPr marL="171450" indent="-171450">
              <a:buFont typeface="Arial" panose="020B0604020202020204" pitchFamily="34" charset="0"/>
              <a:buChar char="•"/>
            </a:pPr>
            <a:r>
              <a:rPr lang="en-GB" dirty="0"/>
              <a:t>Connector lines</a:t>
            </a:r>
          </a:p>
          <a:p>
            <a:r>
              <a:rPr lang="en-GB" dirty="0"/>
              <a:t>Tables:</a:t>
            </a:r>
          </a:p>
          <a:p>
            <a:r>
              <a:rPr lang="en-GB" dirty="0"/>
              <a:t>Row – columns colouring</a:t>
            </a:r>
          </a:p>
          <a:p>
            <a:r>
              <a:rPr lang="en-GB" dirty="0"/>
              <a:t>Audio</a:t>
            </a:r>
          </a:p>
          <a:p>
            <a:r>
              <a:rPr lang="en-GB" dirty="0"/>
              <a:t>Vide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18</a:t>
            </a:fld>
            <a:endParaRPr lang="en-GB"/>
          </a:p>
        </p:txBody>
      </p:sp>
    </p:spTree>
    <p:extLst>
      <p:ext uri="{BB962C8B-B14F-4D97-AF65-F5344CB8AC3E}">
        <p14:creationId xmlns:p14="http://schemas.microsoft.com/office/powerpoint/2010/main" val="10891938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20</a:t>
            </a:fld>
            <a:endParaRPr lang="en-GB"/>
          </a:p>
        </p:txBody>
      </p:sp>
    </p:spTree>
    <p:extLst>
      <p:ext uri="{BB962C8B-B14F-4D97-AF65-F5344CB8AC3E}">
        <p14:creationId xmlns:p14="http://schemas.microsoft.com/office/powerpoint/2010/main" val="1694976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22</a:t>
            </a:fld>
            <a:endParaRPr lang="en-GB"/>
          </a:p>
        </p:txBody>
      </p:sp>
    </p:spTree>
    <p:extLst>
      <p:ext uri="{BB962C8B-B14F-4D97-AF65-F5344CB8AC3E}">
        <p14:creationId xmlns:p14="http://schemas.microsoft.com/office/powerpoint/2010/main" val="1635244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2</a:t>
            </a:fld>
            <a:endParaRPr lang="en-GB"/>
          </a:p>
        </p:txBody>
      </p:sp>
    </p:spTree>
    <p:extLst>
      <p:ext uri="{BB962C8B-B14F-4D97-AF65-F5344CB8AC3E}">
        <p14:creationId xmlns:p14="http://schemas.microsoft.com/office/powerpoint/2010/main" val="14933667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25</a:t>
            </a:fld>
            <a:endParaRPr lang="en-GB"/>
          </a:p>
        </p:txBody>
      </p:sp>
    </p:spTree>
    <p:extLst>
      <p:ext uri="{BB962C8B-B14F-4D97-AF65-F5344CB8AC3E}">
        <p14:creationId xmlns:p14="http://schemas.microsoft.com/office/powerpoint/2010/main" val="4115990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26</a:t>
            </a:fld>
            <a:endParaRPr lang="en-GB"/>
          </a:p>
        </p:txBody>
      </p:sp>
    </p:spTree>
    <p:extLst>
      <p:ext uri="{BB962C8B-B14F-4D97-AF65-F5344CB8AC3E}">
        <p14:creationId xmlns:p14="http://schemas.microsoft.com/office/powerpoint/2010/main" val="14236090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27</a:t>
            </a:fld>
            <a:endParaRPr lang="en-GB"/>
          </a:p>
        </p:txBody>
      </p:sp>
    </p:spTree>
    <p:extLst>
      <p:ext uri="{BB962C8B-B14F-4D97-AF65-F5344CB8AC3E}">
        <p14:creationId xmlns:p14="http://schemas.microsoft.com/office/powerpoint/2010/main" val="17591573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29</a:t>
            </a:fld>
            <a:endParaRPr lang="en-GB"/>
          </a:p>
        </p:txBody>
      </p:sp>
    </p:spTree>
    <p:extLst>
      <p:ext uri="{BB962C8B-B14F-4D97-AF65-F5344CB8AC3E}">
        <p14:creationId xmlns:p14="http://schemas.microsoft.com/office/powerpoint/2010/main" val="968968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742950" lvl="0" indent="-360000">
              <a:buFont typeface="Arial" panose="020B0604020202020204" pitchFamily="34" charset="0"/>
              <a:buChar char="•"/>
            </a:pPr>
            <a:r>
              <a:rPr lang="en-GB" sz="3600" dirty="0"/>
              <a:t>The Net Promoter Score or NPS is a customer experience measurement tool to assess customer satisfaction and loyalty to a company.</a:t>
            </a:r>
          </a:p>
          <a:p>
            <a:pPr marL="742950" lvl="0" indent="-360000">
              <a:buFont typeface="Arial" panose="020B0604020202020204" pitchFamily="34" charset="0"/>
              <a:buChar char="•"/>
            </a:pPr>
            <a:r>
              <a:rPr lang="en-GB" sz="3600" dirty="0"/>
              <a:t>“On a scale of 0 to 10, how likely would you recommend our company to your friends, family or colleagues?”</a:t>
            </a:r>
          </a:p>
          <a:p>
            <a:pPr marL="742950" lvl="0" indent="-360000">
              <a:buFont typeface="Arial" panose="020B0604020202020204" pitchFamily="34" charset="0"/>
              <a:buChar char="•"/>
            </a:pPr>
            <a:r>
              <a:rPr lang="en-GB" sz="3600" dirty="0"/>
              <a:t>Respondents give a score between 0 and 10 and then have the option to explain the given score</a:t>
            </a:r>
          </a:p>
          <a:p>
            <a:pPr marL="742950" lvl="0" indent="-360000">
              <a:buFont typeface="Arial" panose="020B0604020202020204" pitchFamily="34" charset="0"/>
              <a:buChar char="•"/>
            </a:pPr>
            <a:r>
              <a:rPr lang="en-GB" sz="3600" dirty="0"/>
              <a:t>The NPS divides respondents into "promoters" who provide ratings of 9 or 10, "passives" who provide ratings of 7 or 8, and "detractors" who provide ratings of 6 or lower. </a:t>
            </a:r>
          </a:p>
          <a:p>
            <a:pPr marL="742950" lvl="0" indent="-360000">
              <a:buFont typeface="Arial" panose="020B0604020202020204" pitchFamily="34" charset="0"/>
              <a:buChar char="•"/>
            </a:pPr>
            <a:r>
              <a:rPr lang="en-GB" sz="3600" dirty="0"/>
              <a:t>The net promoter score results subtracting the percentage of detractors from the percentage of promoters.</a:t>
            </a:r>
            <a:endParaRPr lang="nl-BE" sz="3600" dirty="0"/>
          </a:p>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30</a:t>
            </a:fld>
            <a:endParaRPr lang="en-GB"/>
          </a:p>
        </p:txBody>
      </p:sp>
    </p:spTree>
    <p:extLst>
      <p:ext uri="{BB962C8B-B14F-4D97-AF65-F5344CB8AC3E}">
        <p14:creationId xmlns:p14="http://schemas.microsoft.com/office/powerpoint/2010/main" val="30255081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31</a:t>
            </a:fld>
            <a:endParaRPr lang="en-GB"/>
          </a:p>
        </p:txBody>
      </p:sp>
    </p:spTree>
    <p:extLst>
      <p:ext uri="{BB962C8B-B14F-4D97-AF65-F5344CB8AC3E}">
        <p14:creationId xmlns:p14="http://schemas.microsoft.com/office/powerpoint/2010/main" val="6284491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a:t>
            </a:r>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32</a:t>
            </a:fld>
            <a:endParaRPr lang="en-GB"/>
          </a:p>
        </p:txBody>
      </p:sp>
    </p:spTree>
    <p:extLst>
      <p:ext uri="{BB962C8B-B14F-4D97-AF65-F5344CB8AC3E}">
        <p14:creationId xmlns:p14="http://schemas.microsoft.com/office/powerpoint/2010/main" val="32274468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33</a:t>
            </a:fld>
            <a:endParaRPr lang="en-GB"/>
          </a:p>
        </p:txBody>
      </p:sp>
    </p:spTree>
    <p:extLst>
      <p:ext uri="{BB962C8B-B14F-4D97-AF65-F5344CB8AC3E}">
        <p14:creationId xmlns:p14="http://schemas.microsoft.com/office/powerpoint/2010/main" val="32274468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34</a:t>
            </a:fld>
            <a:endParaRPr lang="en-GB"/>
          </a:p>
        </p:txBody>
      </p:sp>
    </p:spTree>
    <p:extLst>
      <p:ext uri="{BB962C8B-B14F-4D97-AF65-F5344CB8AC3E}">
        <p14:creationId xmlns:p14="http://schemas.microsoft.com/office/powerpoint/2010/main" val="3080347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36</a:t>
            </a:fld>
            <a:endParaRPr lang="en-GB"/>
          </a:p>
        </p:txBody>
      </p:sp>
    </p:spTree>
    <p:extLst>
      <p:ext uri="{BB962C8B-B14F-4D97-AF65-F5344CB8AC3E}">
        <p14:creationId xmlns:p14="http://schemas.microsoft.com/office/powerpoint/2010/main" val="39689384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3</a:t>
            </a:fld>
            <a:endParaRPr lang="en-GB"/>
          </a:p>
        </p:txBody>
      </p:sp>
    </p:spTree>
    <p:extLst>
      <p:ext uri="{BB962C8B-B14F-4D97-AF65-F5344CB8AC3E}">
        <p14:creationId xmlns:p14="http://schemas.microsoft.com/office/powerpoint/2010/main" val="37542154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nl-NL" sz="1800" b="0" i="0" u="none" strike="noStrike" baseline="0" dirty="0">
                <a:solidFill>
                  <a:srgbClr val="454444"/>
                </a:solidFill>
                <a:latin typeface="Verdana" panose="020B0604030504040204" pitchFamily="34" charset="0"/>
              </a:rPr>
              <a:t>Vertel wat het </a:t>
            </a:r>
            <a:r>
              <a:rPr lang="nl-NL" sz="1800" b="0" i="0" u="none" strike="noStrike" baseline="0" dirty="0">
                <a:solidFill>
                  <a:srgbClr val="FF0000"/>
                </a:solidFill>
                <a:latin typeface="Verdana" panose="020B0604030504040204" pitchFamily="34" charset="0"/>
              </a:rPr>
              <a:t>publiek wil te weten komen</a:t>
            </a:r>
          </a:p>
          <a:p>
            <a:pPr marL="285750" indent="-285750">
              <a:buFont typeface="Arial" panose="020B0604020202020204" pitchFamily="34" charset="0"/>
              <a:buChar char="•"/>
            </a:pPr>
            <a:r>
              <a:rPr lang="nl-NL" sz="1800" b="0" i="0" u="none" strike="noStrike" baseline="0" dirty="0">
                <a:solidFill>
                  <a:srgbClr val="454444"/>
                </a:solidFill>
                <a:latin typeface="Verdana" panose="020B0604030504040204" pitchFamily="34" charset="0"/>
              </a:rPr>
              <a:t>Taalgebruik dat het </a:t>
            </a:r>
            <a:r>
              <a:rPr lang="nl-NL" sz="1800" b="0" i="0" u="none" strike="noStrike" baseline="0" dirty="0">
                <a:solidFill>
                  <a:srgbClr val="FF0000"/>
                </a:solidFill>
                <a:latin typeface="Verdana" panose="020B0604030504040204" pitchFamily="34" charset="0"/>
              </a:rPr>
              <a:t>publiek begrijpt</a:t>
            </a:r>
          </a:p>
          <a:p>
            <a:pPr marL="285750" indent="-285750">
              <a:buFont typeface="Arial" panose="020B0604020202020204" pitchFamily="34" charset="0"/>
              <a:buChar char="•"/>
            </a:pPr>
            <a:r>
              <a:rPr lang="nl-NL" sz="1800" b="0" i="0" u="none" strike="noStrike" baseline="0" dirty="0">
                <a:solidFill>
                  <a:srgbClr val="454444"/>
                </a:solidFill>
                <a:latin typeface="Verdana" panose="020B0604030504040204" pitchFamily="34" charset="0"/>
              </a:rPr>
              <a:t>Verkoop je verhaal met </a:t>
            </a:r>
            <a:r>
              <a:rPr lang="nl-NL" sz="1800" b="0" i="0" u="none" strike="noStrike" baseline="0" dirty="0">
                <a:solidFill>
                  <a:srgbClr val="FF0000"/>
                </a:solidFill>
                <a:latin typeface="Verdana" panose="020B0604030504040204" pitchFamily="34" charset="0"/>
              </a:rPr>
              <a:t>lijf en leden</a:t>
            </a:r>
          </a:p>
          <a:p>
            <a:pPr marL="285750" indent="-285750">
              <a:buFont typeface="Arial" panose="020B0604020202020204" pitchFamily="34" charset="0"/>
              <a:buChar char="•"/>
            </a:pPr>
            <a:r>
              <a:rPr lang="nl-NL" sz="1800" b="0" i="0" u="none" strike="noStrike" baseline="0" dirty="0">
                <a:solidFill>
                  <a:srgbClr val="454444"/>
                </a:solidFill>
                <a:latin typeface="Verdana" panose="020B0604030504040204" pitchFamily="34" charset="0"/>
              </a:rPr>
              <a:t>Presenteer alsof je </a:t>
            </a:r>
            <a:r>
              <a:rPr lang="nl-NL" sz="1800" b="0" i="0" u="none" strike="noStrike" baseline="0" dirty="0">
                <a:solidFill>
                  <a:srgbClr val="FF0000"/>
                </a:solidFill>
                <a:latin typeface="Verdana" panose="020B0604030504040204" pitchFamily="34" charset="0"/>
              </a:rPr>
              <a:t>tegen vrienden </a:t>
            </a:r>
            <a:r>
              <a:rPr lang="nl-NL" sz="1800" b="0" i="0" u="none" strike="noStrike" baseline="0" dirty="0">
                <a:solidFill>
                  <a:srgbClr val="454444"/>
                </a:solidFill>
                <a:latin typeface="Verdana" panose="020B0604030504040204" pitchFamily="34" charset="0"/>
              </a:rPr>
              <a:t>praat</a:t>
            </a:r>
          </a:p>
          <a:p>
            <a:pPr marL="285750" indent="-285750">
              <a:buFont typeface="Arial" panose="020B0604020202020204" pitchFamily="34" charset="0"/>
              <a:buChar char="•"/>
            </a:pPr>
            <a:r>
              <a:rPr lang="en-GB" sz="1800" b="0" i="0" u="none" strike="noStrike" baseline="0" dirty="0" err="1">
                <a:solidFill>
                  <a:srgbClr val="FF0000"/>
                </a:solidFill>
                <a:latin typeface="Verdana" panose="020B0604030504040204" pitchFamily="34" charset="0"/>
              </a:rPr>
              <a:t>Oog</a:t>
            </a:r>
            <a:r>
              <a:rPr lang="en-GB" sz="1800" b="0" i="0" u="none" strike="noStrike" baseline="0" dirty="0">
                <a:solidFill>
                  <a:srgbClr val="FF0000"/>
                </a:solidFill>
                <a:latin typeface="Verdana" panose="020B0604030504040204" pitchFamily="34" charset="0"/>
              </a:rPr>
              <a:t> contact</a:t>
            </a:r>
          </a:p>
          <a:p>
            <a:pPr marL="285750" indent="-285750">
              <a:buFont typeface="Arial" panose="020B0604020202020204" pitchFamily="34" charset="0"/>
              <a:buChar char="•"/>
            </a:pPr>
            <a:r>
              <a:rPr lang="nl-NL" sz="1800" b="0" i="0" u="none" strike="noStrike" baseline="0" dirty="0">
                <a:solidFill>
                  <a:srgbClr val="454444"/>
                </a:solidFill>
                <a:latin typeface="Verdana" panose="020B0604030504040204" pitchFamily="34" charset="0"/>
              </a:rPr>
              <a:t>Toon dat het je </a:t>
            </a:r>
            <a:r>
              <a:rPr lang="nl-NL" sz="1800" b="0" i="0" u="none" strike="noStrike" baseline="0" dirty="0">
                <a:solidFill>
                  <a:srgbClr val="FF0000"/>
                </a:solidFill>
                <a:latin typeface="Verdana" panose="020B0604030504040204" pitchFamily="34" charset="0"/>
              </a:rPr>
              <a:t>zelf interesseert</a:t>
            </a:r>
          </a:p>
          <a:p>
            <a:pPr marL="285750" indent="-285750">
              <a:buFont typeface="Arial" panose="020B0604020202020204" pitchFamily="34" charset="0"/>
              <a:buChar char="•"/>
            </a:pPr>
            <a:r>
              <a:rPr lang="nl-NL" sz="1800" b="0" i="0" u="none" strike="noStrike" baseline="0" dirty="0">
                <a:solidFill>
                  <a:srgbClr val="454444"/>
                </a:solidFill>
                <a:latin typeface="Verdana" panose="020B0604030504040204" pitchFamily="34" charset="0"/>
              </a:rPr>
              <a:t>Breng een </a:t>
            </a:r>
            <a:r>
              <a:rPr lang="nl-NL" sz="1800" b="0" i="0" u="none" strike="noStrike" baseline="0" dirty="0">
                <a:solidFill>
                  <a:srgbClr val="FF0000"/>
                </a:solidFill>
                <a:latin typeface="Verdana" panose="020B0604030504040204" pitchFamily="34" charset="0"/>
              </a:rPr>
              <a:t>boeiend, concreet </a:t>
            </a:r>
            <a:r>
              <a:rPr lang="nl-NL" sz="1800" b="0" i="0" u="none" strike="noStrike" baseline="0" dirty="0">
                <a:solidFill>
                  <a:srgbClr val="454444"/>
                </a:solidFill>
                <a:latin typeface="Verdana" panose="020B0604030504040204" pitchFamily="34" charset="0"/>
              </a:rPr>
              <a:t>verhaal</a:t>
            </a:r>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37</a:t>
            </a:fld>
            <a:endParaRPr lang="en-GB"/>
          </a:p>
        </p:txBody>
      </p:sp>
    </p:spTree>
    <p:extLst>
      <p:ext uri="{BB962C8B-B14F-4D97-AF65-F5344CB8AC3E}">
        <p14:creationId xmlns:p14="http://schemas.microsoft.com/office/powerpoint/2010/main" val="13225902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38</a:t>
            </a:fld>
            <a:endParaRPr lang="en-GB"/>
          </a:p>
        </p:txBody>
      </p:sp>
    </p:spTree>
    <p:extLst>
      <p:ext uri="{BB962C8B-B14F-4D97-AF65-F5344CB8AC3E}">
        <p14:creationId xmlns:p14="http://schemas.microsoft.com/office/powerpoint/2010/main" val="13225902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GB" b="0" i="0" dirty="0">
                <a:solidFill>
                  <a:srgbClr val="373737"/>
                </a:solidFill>
                <a:effectLst/>
                <a:latin typeface="+mj-lt"/>
              </a:rPr>
              <a:t> font size &amp; spacing</a:t>
            </a:r>
          </a:p>
          <a:p>
            <a:pPr algn="l">
              <a:buFont typeface="+mj-lt"/>
              <a:buAutoNum type="arabicPeriod"/>
            </a:pPr>
            <a:r>
              <a:rPr lang="en-GB" b="0" i="0" dirty="0">
                <a:solidFill>
                  <a:srgbClr val="373737"/>
                </a:solidFill>
                <a:effectLst/>
                <a:latin typeface="+mj-lt"/>
              </a:rPr>
              <a:t> </a:t>
            </a:r>
            <a:r>
              <a:rPr lang="en-GB" b="0" i="0" dirty="0" err="1">
                <a:solidFill>
                  <a:srgbClr val="373737"/>
                </a:solidFill>
                <a:effectLst/>
                <a:latin typeface="+mj-lt"/>
              </a:rPr>
              <a:t>color</a:t>
            </a:r>
            <a:r>
              <a:rPr lang="en-GB" b="0" i="0" dirty="0">
                <a:solidFill>
                  <a:srgbClr val="373737"/>
                </a:solidFill>
                <a:effectLst/>
                <a:latin typeface="+mj-lt"/>
              </a:rPr>
              <a:t> contrasting</a:t>
            </a:r>
          </a:p>
          <a:p>
            <a:pPr algn="l">
              <a:buFont typeface="+mj-lt"/>
              <a:buAutoNum type="arabicPeriod"/>
            </a:pPr>
            <a:r>
              <a:rPr lang="en-GB" b="0" i="0" dirty="0">
                <a:solidFill>
                  <a:srgbClr val="373737"/>
                </a:solidFill>
                <a:effectLst/>
                <a:latin typeface="+mj-lt"/>
              </a:rPr>
              <a:t> removing junk</a:t>
            </a:r>
          </a:p>
          <a:p>
            <a:pPr algn="l">
              <a:buFont typeface="+mj-lt"/>
              <a:buAutoNum type="arabicPeriod"/>
            </a:pPr>
            <a:r>
              <a:rPr lang="en-GB" b="0" i="0" dirty="0">
                <a:solidFill>
                  <a:srgbClr val="373737"/>
                </a:solidFill>
                <a:effectLst/>
                <a:latin typeface="+mj-lt"/>
              </a:rPr>
              <a:t> Adding value</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Remove Gridlines and Axis if not necessary</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Fade off Axis Label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Legends are not needed for a single data point</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Match the </a:t>
            </a:r>
            <a:r>
              <a:rPr lang="en-GB" b="0" i="0" dirty="0" err="1">
                <a:solidFill>
                  <a:srgbClr val="404040"/>
                </a:solidFill>
                <a:effectLst/>
                <a:latin typeface="+mj-lt"/>
              </a:rPr>
              <a:t>color</a:t>
            </a:r>
            <a:r>
              <a:rPr lang="en-GB" b="0" i="0" dirty="0">
                <a:solidFill>
                  <a:srgbClr val="404040"/>
                </a:solidFill>
                <a:effectLst/>
                <a:latin typeface="+mj-lt"/>
              </a:rPr>
              <a:t> of Data Labels to the Bars/Line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Align the Axis Labels Properly</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Say NO to unnecessary Border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Write meaning full Chart Title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Avoid Indirect Legend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endParaRPr lang="en-GB" b="1" i="0" dirty="0">
              <a:solidFill>
                <a:srgbClr val="404040"/>
              </a:solidFill>
              <a:effectLst/>
              <a:latin typeface="Montserrat" panose="0200050500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endParaRPr lang="en-GB" b="1" i="0" dirty="0">
              <a:solidFill>
                <a:srgbClr val="404040"/>
              </a:solidFill>
              <a:effectLst/>
              <a:latin typeface="Montserrat" panose="0200050500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endParaRPr lang="en-GB" b="1" i="0" dirty="0">
              <a:solidFill>
                <a:srgbClr val="404040"/>
              </a:solidFill>
              <a:effectLst/>
              <a:latin typeface="Montserrat" panose="0200050500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endParaRPr lang="en-GB" b="1" i="0" dirty="0">
              <a:solidFill>
                <a:srgbClr val="404040"/>
              </a:solidFill>
              <a:effectLst/>
              <a:latin typeface="Montserrat" panose="02000505000000020004" pitchFamily="2" charset="0"/>
            </a:endParaRPr>
          </a:p>
          <a:p>
            <a:pPr algn="l">
              <a:buFont typeface="+mj-lt"/>
              <a:buAutoNum type="arabicPeriod"/>
            </a:pPr>
            <a:endParaRPr lang="en-GB" b="0" i="0" dirty="0">
              <a:solidFill>
                <a:srgbClr val="373737"/>
              </a:solidFill>
              <a:effectLst/>
              <a:latin typeface="Nunito" pitchFamily="2" charset="0"/>
            </a:endParaRPr>
          </a:p>
          <a:p>
            <a:endParaRPr lang="en-GB" dirty="0"/>
          </a:p>
        </p:txBody>
      </p:sp>
      <p:sp>
        <p:nvSpPr>
          <p:cNvPr id="4" name="Slide Number Placeholder 3"/>
          <p:cNvSpPr>
            <a:spLocks noGrp="1"/>
          </p:cNvSpPr>
          <p:nvPr>
            <p:ph type="sldNum" sz="quarter" idx="5"/>
          </p:nvPr>
        </p:nvSpPr>
        <p:spPr/>
        <p:txBody>
          <a:bodyPr/>
          <a:lstStyle/>
          <a:p>
            <a:fld id="{80A05A6B-C6A5-427A-8648-BAE9880475DD}" type="slidenum">
              <a:rPr lang="fr-BE" smtClean="0"/>
              <a:t>40</a:t>
            </a:fld>
            <a:endParaRPr lang="fr-BE"/>
          </a:p>
        </p:txBody>
      </p:sp>
    </p:spTree>
    <p:extLst>
      <p:ext uri="{BB962C8B-B14F-4D97-AF65-F5344CB8AC3E}">
        <p14:creationId xmlns:p14="http://schemas.microsoft.com/office/powerpoint/2010/main" val="40543206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AutoNum type="arabicPeriod"/>
            </a:pPr>
            <a:r>
              <a:rPr lang="en-GB" b="0" i="0" dirty="0">
                <a:solidFill>
                  <a:srgbClr val="373737"/>
                </a:solidFill>
                <a:effectLst/>
                <a:latin typeface="+mj-lt"/>
              </a:rPr>
              <a:t> font size &amp; spacing</a:t>
            </a:r>
          </a:p>
          <a:p>
            <a:pPr algn="l">
              <a:buFont typeface="+mj-lt"/>
              <a:buAutoNum type="arabicPeriod"/>
            </a:pPr>
            <a:r>
              <a:rPr lang="en-GB" b="0" i="0" dirty="0">
                <a:solidFill>
                  <a:srgbClr val="373737"/>
                </a:solidFill>
                <a:effectLst/>
                <a:latin typeface="+mj-lt"/>
              </a:rPr>
              <a:t> </a:t>
            </a:r>
            <a:r>
              <a:rPr lang="en-GB" b="0" i="0" dirty="0" err="1">
                <a:solidFill>
                  <a:srgbClr val="373737"/>
                </a:solidFill>
                <a:effectLst/>
                <a:latin typeface="+mj-lt"/>
              </a:rPr>
              <a:t>color</a:t>
            </a:r>
            <a:r>
              <a:rPr lang="en-GB" b="0" i="0" dirty="0">
                <a:solidFill>
                  <a:srgbClr val="373737"/>
                </a:solidFill>
                <a:effectLst/>
                <a:latin typeface="+mj-lt"/>
              </a:rPr>
              <a:t> contrasting</a:t>
            </a:r>
          </a:p>
          <a:p>
            <a:pPr algn="l">
              <a:buFont typeface="+mj-lt"/>
              <a:buAutoNum type="arabicPeriod"/>
            </a:pPr>
            <a:r>
              <a:rPr lang="en-GB" b="0" i="0" dirty="0">
                <a:solidFill>
                  <a:srgbClr val="373737"/>
                </a:solidFill>
                <a:effectLst/>
                <a:latin typeface="+mj-lt"/>
              </a:rPr>
              <a:t> removing junk</a:t>
            </a:r>
          </a:p>
          <a:p>
            <a:pPr algn="l">
              <a:buFont typeface="+mj-lt"/>
              <a:buAutoNum type="arabicPeriod"/>
            </a:pPr>
            <a:r>
              <a:rPr lang="en-GB" b="0" i="0" dirty="0">
                <a:solidFill>
                  <a:srgbClr val="373737"/>
                </a:solidFill>
                <a:effectLst/>
                <a:latin typeface="+mj-lt"/>
              </a:rPr>
              <a:t> Adding value</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Remove Gridlines and Axis if not necessary</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Fade off Axis Label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Legends are not needed for a single data point</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Match the </a:t>
            </a:r>
            <a:r>
              <a:rPr lang="en-GB" b="0" i="0" dirty="0" err="1">
                <a:solidFill>
                  <a:srgbClr val="404040"/>
                </a:solidFill>
                <a:effectLst/>
                <a:latin typeface="+mj-lt"/>
              </a:rPr>
              <a:t>color</a:t>
            </a:r>
            <a:r>
              <a:rPr lang="en-GB" b="0" i="0" dirty="0">
                <a:solidFill>
                  <a:srgbClr val="404040"/>
                </a:solidFill>
                <a:effectLst/>
                <a:latin typeface="+mj-lt"/>
              </a:rPr>
              <a:t> of Data Labels to the Bars/Line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Align the Axis Labels Properly</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Say NO to unnecessary Border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Write meaning full Chart Title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GB" b="0" i="0" dirty="0">
                <a:solidFill>
                  <a:srgbClr val="404040"/>
                </a:solidFill>
                <a:effectLst/>
                <a:latin typeface="+mj-lt"/>
              </a:rPr>
              <a:t>Avoid Indirect Legend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endParaRPr lang="en-GB" b="1" i="0" dirty="0">
              <a:solidFill>
                <a:srgbClr val="404040"/>
              </a:solidFill>
              <a:effectLst/>
              <a:latin typeface="Montserrat" panose="0200050500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endParaRPr lang="en-GB" b="1" i="0" dirty="0">
              <a:solidFill>
                <a:srgbClr val="404040"/>
              </a:solidFill>
              <a:effectLst/>
              <a:latin typeface="Montserrat" panose="0200050500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endParaRPr lang="en-GB" b="1" i="0" dirty="0">
              <a:solidFill>
                <a:srgbClr val="404040"/>
              </a:solidFill>
              <a:effectLst/>
              <a:latin typeface="Montserrat" panose="0200050500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endParaRPr lang="en-GB" b="1" i="0" dirty="0">
              <a:solidFill>
                <a:srgbClr val="404040"/>
              </a:solidFill>
              <a:effectLst/>
              <a:latin typeface="Montserrat" panose="02000505000000020004" pitchFamily="2" charset="0"/>
            </a:endParaRPr>
          </a:p>
          <a:p>
            <a:pPr algn="l">
              <a:buFont typeface="+mj-lt"/>
              <a:buAutoNum type="arabicPeriod"/>
            </a:pPr>
            <a:endParaRPr lang="en-GB" b="0" i="0" dirty="0">
              <a:solidFill>
                <a:srgbClr val="373737"/>
              </a:solidFill>
              <a:effectLst/>
              <a:latin typeface="Nunito" pitchFamily="2" charset="0"/>
            </a:endParaRPr>
          </a:p>
          <a:p>
            <a:endParaRPr lang="en-GB" dirty="0"/>
          </a:p>
        </p:txBody>
      </p:sp>
      <p:sp>
        <p:nvSpPr>
          <p:cNvPr id="4" name="Slide Number Placeholder 3"/>
          <p:cNvSpPr>
            <a:spLocks noGrp="1"/>
          </p:cNvSpPr>
          <p:nvPr>
            <p:ph type="sldNum" sz="quarter" idx="5"/>
          </p:nvPr>
        </p:nvSpPr>
        <p:spPr/>
        <p:txBody>
          <a:bodyPr/>
          <a:lstStyle/>
          <a:p>
            <a:fld id="{80A05A6B-C6A5-427A-8648-BAE9880475DD}" type="slidenum">
              <a:rPr lang="fr-BE" smtClean="0"/>
              <a:t>41</a:t>
            </a:fld>
            <a:endParaRPr lang="fr-BE"/>
          </a:p>
        </p:txBody>
      </p:sp>
    </p:spTree>
    <p:extLst>
      <p:ext uri="{BB962C8B-B14F-4D97-AF65-F5344CB8AC3E}">
        <p14:creationId xmlns:p14="http://schemas.microsoft.com/office/powerpoint/2010/main" val="41375227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42</a:t>
            </a:fld>
            <a:endParaRPr lang="en-GB"/>
          </a:p>
        </p:txBody>
      </p:sp>
    </p:spTree>
    <p:extLst>
      <p:ext uri="{BB962C8B-B14F-4D97-AF65-F5344CB8AC3E}">
        <p14:creationId xmlns:p14="http://schemas.microsoft.com/office/powerpoint/2010/main" val="21590127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43</a:t>
            </a:fld>
            <a:endParaRPr lang="en-GB"/>
          </a:p>
        </p:txBody>
      </p:sp>
    </p:spTree>
    <p:extLst>
      <p:ext uri="{BB962C8B-B14F-4D97-AF65-F5344CB8AC3E}">
        <p14:creationId xmlns:p14="http://schemas.microsoft.com/office/powerpoint/2010/main" val="286678273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en-GB" dirty="0"/>
              <a:t>Open table formatting</a:t>
            </a:r>
          </a:p>
          <a:p>
            <a:pPr marL="171450" indent="-171450">
              <a:buFont typeface="Arial" panose="020B0604020202020204" pitchFamily="34" charset="0"/>
              <a:buChar char="•"/>
            </a:pPr>
            <a:r>
              <a:rPr lang="en-GB" dirty="0"/>
              <a:t>Reading direction with banded rows / columns</a:t>
            </a:r>
          </a:p>
          <a:p>
            <a:pPr marL="171450" indent="-171450">
              <a:buFont typeface="Arial" panose="020B0604020202020204" pitchFamily="34" charset="0"/>
              <a:buChar char="•"/>
            </a:pPr>
            <a:r>
              <a:rPr lang="en-GB" dirty="0"/>
              <a:t>Focusing attention on what you want to discuss</a:t>
            </a:r>
          </a:p>
          <a:p>
            <a:pPr marL="171450" indent="-171450">
              <a:buFont typeface="Arial" panose="020B0604020202020204" pitchFamily="34" charset="0"/>
              <a:buChar char="•"/>
            </a:pPr>
            <a:r>
              <a:rPr lang="en-GB" dirty="0"/>
              <a:t>Choose graphs where possible</a:t>
            </a:r>
            <a:endParaRPr lang="nl-NL" dirty="0"/>
          </a:p>
          <a:p>
            <a:pPr marL="171450" indent="-171450">
              <a:buFont typeface="Arial" panose="020B0604020202020204" pitchFamily="34" charset="0"/>
              <a:buChar char="•"/>
            </a:pPr>
            <a:endParaRPr lang="nl-NL" dirty="0"/>
          </a:p>
          <a:p>
            <a:pPr marL="171450" indent="-171450">
              <a:buFont typeface="Arial" panose="020B0604020202020204" pitchFamily="34" charset="0"/>
              <a:buChar char="•"/>
            </a:pPr>
            <a:r>
              <a:rPr lang="nl-NL" dirty="0"/>
              <a:t>Open tabel opmaak</a:t>
            </a:r>
          </a:p>
          <a:p>
            <a:pPr marL="171450" indent="-171450">
              <a:buFont typeface="Arial" panose="020B0604020202020204" pitchFamily="34" charset="0"/>
              <a:buChar char="•"/>
            </a:pPr>
            <a:r>
              <a:rPr lang="nl-NL" dirty="0"/>
              <a:t>Leesrichting met </a:t>
            </a:r>
            <a:r>
              <a:rPr lang="nl-NL" dirty="0" err="1"/>
              <a:t>banded</a:t>
            </a:r>
            <a:r>
              <a:rPr lang="nl-NL" dirty="0"/>
              <a:t> </a:t>
            </a:r>
            <a:r>
              <a:rPr lang="nl-NL" dirty="0" err="1"/>
              <a:t>rows</a:t>
            </a:r>
            <a:r>
              <a:rPr lang="nl-NL" dirty="0"/>
              <a:t> / columns</a:t>
            </a:r>
          </a:p>
          <a:p>
            <a:pPr marL="171450" indent="-171450">
              <a:buFont typeface="Arial" panose="020B0604020202020204" pitchFamily="34" charset="0"/>
              <a:buChar char="•"/>
            </a:pPr>
            <a:r>
              <a:rPr lang="nl-NL" dirty="0"/>
              <a:t>Aandacht focussen op wat u wilt bespreken</a:t>
            </a:r>
          </a:p>
          <a:p>
            <a:pPr marL="171450" indent="-171450">
              <a:buFont typeface="Arial" panose="020B0604020202020204" pitchFamily="34" charset="0"/>
              <a:buChar char="•"/>
            </a:pPr>
            <a:r>
              <a:rPr lang="nl-NL" dirty="0"/>
              <a:t>Kies voor grafieken waar mogelijk</a:t>
            </a:r>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45</a:t>
            </a:fld>
            <a:endParaRPr lang="en-GB"/>
          </a:p>
        </p:txBody>
      </p:sp>
    </p:spTree>
    <p:extLst>
      <p:ext uri="{BB962C8B-B14F-4D97-AF65-F5344CB8AC3E}">
        <p14:creationId xmlns:p14="http://schemas.microsoft.com/office/powerpoint/2010/main" val="4929996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en-GB" dirty="0"/>
              <a:t>Naming axes </a:t>
            </a:r>
          </a:p>
          <a:p>
            <a:pPr marL="171450" indent="-171450">
              <a:buFont typeface="Arial" panose="020B0604020202020204" pitchFamily="34" charset="0"/>
              <a:buChar char="•"/>
            </a:pPr>
            <a:r>
              <a:rPr lang="en-GB" dirty="0"/>
              <a:t>The value of trend lines </a:t>
            </a:r>
          </a:p>
          <a:p>
            <a:pPr marL="171450" indent="-171450">
              <a:buFont typeface="Arial" panose="020B0604020202020204" pitchFamily="34" charset="0"/>
              <a:buChar char="•"/>
            </a:pPr>
            <a:r>
              <a:rPr lang="en-GB" dirty="0"/>
              <a:t>Columns = comparison and lines = evolution </a:t>
            </a:r>
          </a:p>
          <a:p>
            <a:pPr marL="171450" indent="-171450">
              <a:buFont typeface="Arial" panose="020B0604020202020204" pitchFamily="34" charset="0"/>
              <a:buChar char="•"/>
            </a:pPr>
            <a:r>
              <a:rPr lang="en-GB" dirty="0"/>
              <a:t>Format/animate what should get the focus </a:t>
            </a:r>
          </a:p>
          <a:p>
            <a:pPr marL="171450" indent="-171450">
              <a:buFont typeface="Arial" panose="020B0604020202020204" pitchFamily="34" charset="0"/>
              <a:buChar char="•"/>
            </a:pPr>
            <a:r>
              <a:rPr lang="en-GB" dirty="0"/>
              <a:t>Consider graphic labels </a:t>
            </a:r>
          </a:p>
          <a:p>
            <a:pPr marL="171450" indent="-171450">
              <a:buFont typeface="Arial" panose="020B0604020202020204" pitchFamily="34" charset="0"/>
              <a:buChar char="•"/>
            </a:pPr>
            <a:r>
              <a:rPr lang="en-GB" dirty="0"/>
              <a:t>And also Smart-Arts</a:t>
            </a:r>
            <a:endParaRPr lang="nl-BE" dirty="0"/>
          </a:p>
          <a:p>
            <a:pPr marL="171450" indent="-171450">
              <a:buFont typeface="Arial" panose="020B0604020202020204" pitchFamily="34" charset="0"/>
              <a:buChar char="•"/>
            </a:pPr>
            <a:endParaRPr lang="nl-BE" dirty="0"/>
          </a:p>
          <a:p>
            <a:pPr marL="171450" indent="-171450">
              <a:buFont typeface="Arial" panose="020B0604020202020204" pitchFamily="34" charset="0"/>
              <a:buChar char="•"/>
            </a:pPr>
            <a:endParaRPr lang="nl-BE" dirty="0"/>
          </a:p>
          <a:p>
            <a:pPr marL="171450" indent="-171450">
              <a:buFont typeface="Arial" panose="020B0604020202020204" pitchFamily="34" charset="0"/>
              <a:buChar char="•"/>
            </a:pPr>
            <a:r>
              <a:rPr lang="nl-BE" dirty="0"/>
              <a:t>Assen benoemen</a:t>
            </a:r>
          </a:p>
          <a:p>
            <a:pPr marL="171450" indent="-171450">
              <a:buFont typeface="Arial" panose="020B0604020202020204" pitchFamily="34" charset="0"/>
              <a:buChar char="•"/>
            </a:pPr>
            <a:r>
              <a:rPr lang="nl-BE" dirty="0"/>
              <a:t>De waarde van trendlijnen</a:t>
            </a:r>
          </a:p>
          <a:p>
            <a:pPr marL="171450" indent="-171450">
              <a:buFont typeface="Arial" panose="020B0604020202020204" pitchFamily="34" charset="0"/>
              <a:buChar char="•"/>
            </a:pPr>
            <a:r>
              <a:rPr lang="nl-BE" dirty="0"/>
              <a:t>Kolommen = vergelijken en lijnen = evolutie</a:t>
            </a:r>
          </a:p>
          <a:p>
            <a:pPr marL="171450" indent="-171450">
              <a:buFont typeface="Arial" panose="020B0604020202020204" pitchFamily="34" charset="0"/>
              <a:buChar char="•"/>
            </a:pPr>
            <a:r>
              <a:rPr lang="nl-BE" dirty="0"/>
              <a:t>Formatteer / animeer die zaken waar de focus op ligt</a:t>
            </a:r>
          </a:p>
          <a:p>
            <a:pPr marL="171450" indent="-171450">
              <a:buFont typeface="Arial" panose="020B0604020202020204" pitchFamily="34" charset="0"/>
              <a:buChar char="•"/>
            </a:pPr>
            <a:r>
              <a:rPr lang="nl-BE" dirty="0"/>
              <a:t>Overweeg grafische labels</a:t>
            </a:r>
          </a:p>
          <a:p>
            <a:pPr marL="171450" indent="-171450">
              <a:buFont typeface="Arial" panose="020B0604020202020204" pitchFamily="34" charset="0"/>
              <a:buChar char="•"/>
            </a:pPr>
            <a:r>
              <a:rPr lang="nl-BE" dirty="0"/>
              <a:t>En ook Smart-Arts </a:t>
            </a:r>
            <a:endParaRPr lang="en-GB" dirty="0"/>
          </a:p>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46</a:t>
            </a:fld>
            <a:endParaRPr lang="en-GB"/>
          </a:p>
        </p:txBody>
      </p:sp>
    </p:spTree>
    <p:extLst>
      <p:ext uri="{BB962C8B-B14F-4D97-AF65-F5344CB8AC3E}">
        <p14:creationId xmlns:p14="http://schemas.microsoft.com/office/powerpoint/2010/main" val="24220618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6000" indent="-216000" algn="l">
              <a:buFont typeface="+mj-lt"/>
              <a:buAutoNum type="arabicPeriod"/>
            </a:pPr>
            <a:r>
              <a:rPr lang="en-GB" b="0" i="0" dirty="0">
                <a:solidFill>
                  <a:srgbClr val="374151"/>
                </a:solidFill>
                <a:effectLst/>
                <a:latin typeface="Söhne"/>
              </a:rPr>
              <a:t>Column Chart: Column charts are used to compare data across different categories or groups. The height of the columns represents the values being compared.</a:t>
            </a:r>
          </a:p>
          <a:p>
            <a:pPr marL="216000" indent="-216000" algn="l">
              <a:buFont typeface="+mj-lt"/>
              <a:buAutoNum type="arabicPeriod"/>
            </a:pPr>
            <a:r>
              <a:rPr lang="en-GB" b="0" i="0" dirty="0">
                <a:solidFill>
                  <a:srgbClr val="374151"/>
                </a:solidFill>
                <a:effectLst/>
                <a:latin typeface="Söhne"/>
              </a:rPr>
              <a:t>Bar Chart: Similar to column charts, bar charts are used to compare data across categories. The main difference is that the bars are horizontal instead of vertical.</a:t>
            </a:r>
          </a:p>
          <a:p>
            <a:pPr marL="216000" indent="-216000" algn="l">
              <a:buFont typeface="+mj-lt"/>
              <a:buAutoNum type="arabicPeriod"/>
            </a:pPr>
            <a:r>
              <a:rPr lang="en-GB" b="0" i="0" dirty="0">
                <a:solidFill>
                  <a:srgbClr val="374151"/>
                </a:solidFill>
                <a:effectLst/>
                <a:latin typeface="Söhne"/>
              </a:rPr>
              <a:t>Line Chart: Line charts are used to display trends or changes over time. They are commonly used to show the relationship between two or more variables and their values at different points.</a:t>
            </a:r>
          </a:p>
          <a:p>
            <a:pPr marL="216000" indent="-216000" algn="l">
              <a:buFont typeface="+mj-lt"/>
              <a:buAutoNum type="arabicPeriod"/>
            </a:pPr>
            <a:r>
              <a:rPr lang="en-GB" b="0" i="0" dirty="0">
                <a:solidFill>
                  <a:srgbClr val="374151"/>
                </a:solidFill>
                <a:effectLst/>
                <a:latin typeface="Söhne"/>
              </a:rPr>
              <a:t>Pie Chart: Pie charts are used to represent proportions or percentages of a whole. They are particularly effective when showing the relative sizes of different categories.</a:t>
            </a:r>
          </a:p>
          <a:p>
            <a:pPr marL="216000" indent="-216000" algn="l">
              <a:buFont typeface="+mj-lt"/>
              <a:buAutoNum type="arabicPeriod"/>
            </a:pPr>
            <a:r>
              <a:rPr lang="en-GB" b="0" i="0" dirty="0">
                <a:solidFill>
                  <a:srgbClr val="374151"/>
                </a:solidFill>
                <a:effectLst/>
                <a:latin typeface="Söhne"/>
              </a:rPr>
              <a:t>Scatter Plot: Scatter plots are used to display the relationship between two numerical variables. Each data point is represented by a dot on the graph, and the pattern of dots helps identify any correlation or trend.</a:t>
            </a:r>
          </a:p>
          <a:p>
            <a:pPr marL="216000" indent="-216000" algn="l">
              <a:buFont typeface="+mj-lt"/>
              <a:buAutoNum type="arabicPeriod"/>
            </a:pPr>
            <a:r>
              <a:rPr lang="en-GB" b="0" i="0" dirty="0">
                <a:solidFill>
                  <a:srgbClr val="374151"/>
                </a:solidFill>
                <a:effectLst/>
                <a:latin typeface="Söhne"/>
              </a:rPr>
              <a:t>Area Chart: Area charts are similar to line charts but with the area below the line filled in. They are often used to represent accumulated totals over time.</a:t>
            </a:r>
          </a:p>
          <a:p>
            <a:pPr marL="216000" indent="-216000" algn="l">
              <a:buFont typeface="+mj-lt"/>
              <a:buAutoNum type="arabicPeriod"/>
            </a:pPr>
            <a:r>
              <a:rPr lang="en-GB" b="0" i="0" dirty="0">
                <a:solidFill>
                  <a:srgbClr val="374151"/>
                </a:solidFill>
                <a:effectLst/>
                <a:latin typeface="Söhne"/>
              </a:rPr>
              <a:t>Histogram: Histograms are used to visualize the distribution of a dataset. They group data into intervals and display the frequency or count of values falling within each interval.</a:t>
            </a:r>
          </a:p>
          <a:p>
            <a:pPr marL="216000" indent="-216000" algn="l">
              <a:buFont typeface="+mj-lt"/>
              <a:buAutoNum type="arabicPeriod"/>
            </a:pPr>
            <a:r>
              <a:rPr lang="en-GB" b="0" i="0" dirty="0">
                <a:solidFill>
                  <a:srgbClr val="374151"/>
                </a:solidFill>
                <a:effectLst/>
                <a:latin typeface="Söhne"/>
              </a:rPr>
              <a:t>Waterfall Chart: Waterfall charts are used to illustrate the cumulative effect of positive and negative values on a total. They are commonly used in financial analysis to show the changes in a company's balance sheet or profit and loss statement.</a:t>
            </a:r>
          </a:p>
          <a:p>
            <a:pPr marL="216000" indent="-216000" algn="l">
              <a:buFont typeface="+mj-lt"/>
              <a:buAutoNum type="arabicPeriod"/>
            </a:pPr>
            <a:r>
              <a:rPr lang="en-GB" b="0" i="0" dirty="0">
                <a:solidFill>
                  <a:srgbClr val="374151"/>
                </a:solidFill>
                <a:effectLst/>
                <a:latin typeface="Söhne"/>
              </a:rPr>
              <a:t>Gantt Chart: Gantt charts are used for project management and scheduling. They display tasks, their start and end dates, and their dependencies, allowing project managers to visualize the timeline and progress of a project.</a:t>
            </a:r>
          </a:p>
          <a:p>
            <a:pPr marL="216000" indent="-216000" algn="l">
              <a:buFont typeface="+mj-lt"/>
              <a:buAutoNum type="arabicPeriod"/>
            </a:pPr>
            <a:r>
              <a:rPr lang="en-GB" b="0" i="0" dirty="0">
                <a:solidFill>
                  <a:srgbClr val="374151"/>
                </a:solidFill>
                <a:effectLst/>
                <a:latin typeface="Söhne"/>
              </a:rPr>
              <a:t>Funnel Chart: Funnel charts are used to visualize a series of stages in a process or sales funnel. The chart displays the progression or conversion rates from one stage to another, typically starting with a larger number of items or customers at the top and narrowing down to a smaller number at the bottom. Funnel charts are commonly used in sales and marketing to </a:t>
            </a:r>
            <a:r>
              <a:rPr lang="en-GB" b="0" i="0" dirty="0" err="1">
                <a:solidFill>
                  <a:srgbClr val="374151"/>
                </a:solidFill>
                <a:effectLst/>
                <a:latin typeface="Söhne"/>
              </a:rPr>
              <a:t>analyze</a:t>
            </a:r>
            <a:r>
              <a:rPr lang="en-GB" b="0" i="0" dirty="0">
                <a:solidFill>
                  <a:srgbClr val="374151"/>
                </a:solidFill>
                <a:effectLst/>
                <a:latin typeface="Söhne"/>
              </a:rPr>
              <a:t> and optimize the sales or conversion process.</a:t>
            </a:r>
          </a:p>
          <a:p>
            <a:pPr marL="216000" indent="-216000" algn="l">
              <a:buFont typeface="+mj-lt"/>
              <a:buAutoNum type="arabicPeriod"/>
            </a:pPr>
            <a:r>
              <a:rPr lang="en-GB" b="0" i="0" dirty="0" err="1">
                <a:solidFill>
                  <a:srgbClr val="374151"/>
                </a:solidFill>
                <a:effectLst/>
                <a:latin typeface="Söhne"/>
              </a:rPr>
              <a:t>Treemap</a:t>
            </a:r>
            <a:r>
              <a:rPr lang="en-GB" b="0" i="0" dirty="0">
                <a:solidFill>
                  <a:srgbClr val="374151"/>
                </a:solidFill>
                <a:effectLst/>
                <a:latin typeface="Söhne"/>
              </a:rPr>
              <a:t>: </a:t>
            </a:r>
            <a:r>
              <a:rPr lang="en-GB" b="0" i="0" dirty="0" err="1">
                <a:solidFill>
                  <a:srgbClr val="374151"/>
                </a:solidFill>
                <a:effectLst/>
                <a:latin typeface="Söhne"/>
              </a:rPr>
              <a:t>Treemaps</a:t>
            </a:r>
            <a:r>
              <a:rPr lang="en-GB" b="0" i="0" dirty="0">
                <a:solidFill>
                  <a:srgbClr val="374151"/>
                </a:solidFill>
                <a:effectLst/>
                <a:latin typeface="Söhne"/>
              </a:rPr>
              <a:t> are used to display hierarchical data using nested rectangles or squares. Each rectangle represents a category, and its size corresponds to a quantitative value, such as sales revenue or market share. The </a:t>
            </a:r>
            <a:r>
              <a:rPr lang="en-GB" b="0" i="0" dirty="0" err="1">
                <a:solidFill>
                  <a:srgbClr val="374151"/>
                </a:solidFill>
                <a:effectLst/>
                <a:latin typeface="Söhne"/>
              </a:rPr>
              <a:t>treemap</a:t>
            </a:r>
            <a:r>
              <a:rPr lang="en-GB" b="0" i="0" dirty="0">
                <a:solidFill>
                  <a:srgbClr val="374151"/>
                </a:solidFill>
                <a:effectLst/>
                <a:latin typeface="Söhne"/>
              </a:rPr>
              <a:t> allows you to compare the sizes of different categories visually and see the hierarchical relationships between them. </a:t>
            </a:r>
            <a:r>
              <a:rPr lang="en-GB" b="0" i="0" dirty="0" err="1">
                <a:solidFill>
                  <a:srgbClr val="374151"/>
                </a:solidFill>
                <a:effectLst/>
                <a:latin typeface="Söhne"/>
              </a:rPr>
              <a:t>Treemaps</a:t>
            </a:r>
            <a:r>
              <a:rPr lang="en-GB" b="0" i="0" dirty="0">
                <a:solidFill>
                  <a:srgbClr val="374151"/>
                </a:solidFill>
                <a:effectLst/>
                <a:latin typeface="Söhne"/>
              </a:rPr>
              <a:t> are useful for visualizing and </a:t>
            </a:r>
            <a:r>
              <a:rPr lang="en-GB" b="0" i="0" dirty="0" err="1">
                <a:solidFill>
                  <a:srgbClr val="374151"/>
                </a:solidFill>
                <a:effectLst/>
                <a:latin typeface="Söhne"/>
              </a:rPr>
              <a:t>analyzing</a:t>
            </a:r>
            <a:r>
              <a:rPr lang="en-GB" b="0" i="0" dirty="0">
                <a:solidFill>
                  <a:srgbClr val="374151"/>
                </a:solidFill>
                <a:effectLst/>
                <a:latin typeface="Söhne"/>
              </a:rPr>
              <a:t> complex data structures, such as file sizes in a directory or the allocation of resources in a budget.</a:t>
            </a:r>
          </a:p>
          <a:p>
            <a:pPr marL="216000" indent="-216000" algn="l">
              <a:buFont typeface="+mj-lt"/>
              <a:buAutoNum type="arabicPeriod"/>
            </a:pPr>
            <a:r>
              <a:rPr lang="en-GB" b="0" i="0" dirty="0">
                <a:solidFill>
                  <a:srgbClr val="374151"/>
                </a:solidFill>
                <a:effectLst/>
                <a:latin typeface="Söhne"/>
              </a:rPr>
              <a:t>Sunburst Chart: Sunburst charts are also used to display hierarchical data, similar to </a:t>
            </a:r>
            <a:r>
              <a:rPr lang="en-GB" b="0" i="0" dirty="0" err="1">
                <a:solidFill>
                  <a:srgbClr val="374151"/>
                </a:solidFill>
                <a:effectLst/>
                <a:latin typeface="Söhne"/>
              </a:rPr>
              <a:t>treemaps</a:t>
            </a:r>
            <a:r>
              <a:rPr lang="en-GB" b="0" i="0" dirty="0">
                <a:solidFill>
                  <a:srgbClr val="374151"/>
                </a:solidFill>
                <a:effectLst/>
                <a:latin typeface="Söhne"/>
              </a:rPr>
              <a:t>, but in a circular format. The outer rings represent the main categories, and each subsequent ring represents subcategories or levels within the hierarchy. The size of each sector corresponds to a quantitative value. Sunburst charts are particularly effective in showing the composition and proportions of different categories within a whole. They are commonly used in data analysis, such as </a:t>
            </a:r>
            <a:r>
              <a:rPr lang="en-GB" b="0" i="0" dirty="0" err="1">
                <a:solidFill>
                  <a:srgbClr val="374151"/>
                </a:solidFill>
                <a:effectLst/>
                <a:latin typeface="Söhne"/>
              </a:rPr>
              <a:t>analyzing</a:t>
            </a:r>
            <a:r>
              <a:rPr lang="en-GB" b="0" i="0" dirty="0">
                <a:solidFill>
                  <a:srgbClr val="374151"/>
                </a:solidFill>
                <a:effectLst/>
                <a:latin typeface="Söhne"/>
              </a:rPr>
              <a:t> market segments or visualizing organizational structures.</a:t>
            </a:r>
          </a:p>
          <a:p>
            <a:endParaRPr lang="en-GB" dirty="0"/>
          </a:p>
        </p:txBody>
      </p:sp>
      <p:sp>
        <p:nvSpPr>
          <p:cNvPr id="4" name="Slide Number Placeholder 3"/>
          <p:cNvSpPr>
            <a:spLocks noGrp="1"/>
          </p:cNvSpPr>
          <p:nvPr>
            <p:ph type="sldNum" sz="quarter" idx="5"/>
          </p:nvPr>
        </p:nvSpPr>
        <p:spPr/>
        <p:txBody>
          <a:bodyPr/>
          <a:lstStyle/>
          <a:p>
            <a:fld id="{80A05A6B-C6A5-427A-8648-BAE9880475DD}" type="slidenum">
              <a:rPr lang="fr-BE" smtClean="0"/>
              <a:t>47</a:t>
            </a:fld>
            <a:endParaRPr lang="fr-BE"/>
          </a:p>
        </p:txBody>
      </p:sp>
    </p:spTree>
    <p:extLst>
      <p:ext uri="{BB962C8B-B14F-4D97-AF65-F5344CB8AC3E}">
        <p14:creationId xmlns:p14="http://schemas.microsoft.com/office/powerpoint/2010/main" val="28608733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6000" indent="-216000" algn="l">
              <a:buFont typeface="+mj-lt"/>
              <a:buAutoNum type="arabicPeriod"/>
            </a:pPr>
            <a:r>
              <a:rPr lang="en-GB" b="0" i="0" dirty="0">
                <a:solidFill>
                  <a:srgbClr val="374151"/>
                </a:solidFill>
                <a:effectLst/>
                <a:latin typeface="Söhne"/>
              </a:rPr>
              <a:t>Column Chart: Column charts are used to compare data across different categories or groups. The height of the columns represents the values being compared.</a:t>
            </a:r>
          </a:p>
          <a:p>
            <a:pPr marL="216000" indent="-216000" algn="l">
              <a:buFont typeface="+mj-lt"/>
              <a:buAutoNum type="arabicPeriod"/>
            </a:pPr>
            <a:r>
              <a:rPr lang="en-GB" b="0" i="0" dirty="0">
                <a:solidFill>
                  <a:srgbClr val="374151"/>
                </a:solidFill>
                <a:effectLst/>
                <a:latin typeface="Söhne"/>
              </a:rPr>
              <a:t>Bar Chart: Similar to column charts, bar charts are used to compare data across categories. The main difference is that the bars are horizontal instead of vertical.</a:t>
            </a:r>
          </a:p>
          <a:p>
            <a:pPr marL="216000" indent="-216000" algn="l">
              <a:buFont typeface="+mj-lt"/>
              <a:buAutoNum type="arabicPeriod"/>
            </a:pPr>
            <a:r>
              <a:rPr lang="en-GB" b="0" i="0" dirty="0">
                <a:solidFill>
                  <a:srgbClr val="374151"/>
                </a:solidFill>
                <a:effectLst/>
                <a:latin typeface="Söhne"/>
              </a:rPr>
              <a:t>Line Chart: Line charts are used to display trends or changes over time. They are commonly used to show the relationship between two or more variables and their values at different points.</a:t>
            </a:r>
          </a:p>
          <a:p>
            <a:pPr marL="216000" indent="-216000" algn="l">
              <a:buFont typeface="+mj-lt"/>
              <a:buAutoNum type="arabicPeriod"/>
            </a:pPr>
            <a:r>
              <a:rPr lang="en-GB" b="0" i="0" dirty="0">
                <a:solidFill>
                  <a:srgbClr val="374151"/>
                </a:solidFill>
                <a:effectLst/>
                <a:latin typeface="Söhne"/>
              </a:rPr>
              <a:t>Pie Chart: Pie charts are used to represent proportions or percentages of a whole. They are particularly effective when showing the relative sizes of different categories.</a:t>
            </a:r>
          </a:p>
          <a:p>
            <a:pPr marL="216000" indent="-216000" algn="l">
              <a:buFont typeface="+mj-lt"/>
              <a:buAutoNum type="arabicPeriod"/>
            </a:pPr>
            <a:r>
              <a:rPr lang="en-GB" b="0" i="0" dirty="0">
                <a:solidFill>
                  <a:srgbClr val="374151"/>
                </a:solidFill>
                <a:effectLst/>
                <a:latin typeface="Söhne"/>
              </a:rPr>
              <a:t>Scatter Plot: Scatter plots are used to display the relationship between two numerical variables. Each data point is represented by a dot on the graph, and the pattern of dots helps identify any correlation or trend.</a:t>
            </a:r>
          </a:p>
          <a:p>
            <a:pPr marL="216000" indent="-216000" algn="l">
              <a:buFont typeface="+mj-lt"/>
              <a:buAutoNum type="arabicPeriod"/>
            </a:pPr>
            <a:r>
              <a:rPr lang="en-GB" b="0" i="0" dirty="0">
                <a:solidFill>
                  <a:srgbClr val="374151"/>
                </a:solidFill>
                <a:effectLst/>
                <a:latin typeface="Söhne"/>
              </a:rPr>
              <a:t>Area Chart: Area charts are similar to line charts but with the area below the line filled in. They are often used to represent accumulated totals over time.</a:t>
            </a:r>
          </a:p>
          <a:p>
            <a:pPr marL="216000" indent="-216000" algn="l">
              <a:buFont typeface="+mj-lt"/>
              <a:buAutoNum type="arabicPeriod"/>
            </a:pPr>
            <a:r>
              <a:rPr lang="en-GB" b="0" i="0" dirty="0">
                <a:solidFill>
                  <a:srgbClr val="374151"/>
                </a:solidFill>
                <a:effectLst/>
                <a:latin typeface="Söhne"/>
              </a:rPr>
              <a:t>Histogram: Histograms are used to visualize the distribution of a dataset. They group data into intervals and display the frequency or count of values falling within each interval.</a:t>
            </a:r>
          </a:p>
          <a:p>
            <a:pPr marL="216000" indent="-216000" algn="l">
              <a:buFont typeface="+mj-lt"/>
              <a:buAutoNum type="arabicPeriod"/>
            </a:pPr>
            <a:r>
              <a:rPr lang="en-GB" b="0" i="0" dirty="0">
                <a:solidFill>
                  <a:srgbClr val="374151"/>
                </a:solidFill>
                <a:effectLst/>
                <a:latin typeface="Söhne"/>
              </a:rPr>
              <a:t>Waterfall Chart: Waterfall charts are used to illustrate the cumulative effect of positive and negative values on a total. They are commonly used in financial analysis to show the changes in a company's balance sheet or profit and loss statement.</a:t>
            </a:r>
          </a:p>
          <a:p>
            <a:pPr marL="216000" indent="-216000" algn="l">
              <a:buFont typeface="+mj-lt"/>
              <a:buAutoNum type="arabicPeriod"/>
            </a:pPr>
            <a:r>
              <a:rPr lang="en-GB" b="0" i="0" dirty="0">
                <a:solidFill>
                  <a:srgbClr val="374151"/>
                </a:solidFill>
                <a:effectLst/>
                <a:latin typeface="Söhne"/>
              </a:rPr>
              <a:t>Gantt Chart: Gantt charts are used for project management and scheduling. They display tasks, their start and end dates, and their dependencies, allowing project managers to visualize the timeline and progress of a project.</a:t>
            </a:r>
          </a:p>
          <a:p>
            <a:pPr marL="216000" indent="-216000" algn="l">
              <a:buFont typeface="+mj-lt"/>
              <a:buAutoNum type="arabicPeriod"/>
            </a:pPr>
            <a:r>
              <a:rPr lang="en-GB" b="0" i="0" dirty="0">
                <a:solidFill>
                  <a:srgbClr val="374151"/>
                </a:solidFill>
                <a:effectLst/>
                <a:latin typeface="Söhne"/>
              </a:rPr>
              <a:t>Funnel Chart: Funnel charts are used to visualize a series of stages in a process or sales funnel. The chart displays the progression or conversion rates from one stage to another, typically starting with a larger number of items or customers at the top and narrowing down to a smaller number at the bottom. Funnel charts are commonly used in sales and marketing to </a:t>
            </a:r>
            <a:r>
              <a:rPr lang="en-GB" b="0" i="0" dirty="0" err="1">
                <a:solidFill>
                  <a:srgbClr val="374151"/>
                </a:solidFill>
                <a:effectLst/>
                <a:latin typeface="Söhne"/>
              </a:rPr>
              <a:t>analyze</a:t>
            </a:r>
            <a:r>
              <a:rPr lang="en-GB" b="0" i="0" dirty="0">
                <a:solidFill>
                  <a:srgbClr val="374151"/>
                </a:solidFill>
                <a:effectLst/>
                <a:latin typeface="Söhne"/>
              </a:rPr>
              <a:t> and optimize the sales or conversion process.</a:t>
            </a:r>
          </a:p>
          <a:p>
            <a:pPr marL="216000" indent="-216000" algn="l">
              <a:buFont typeface="+mj-lt"/>
              <a:buAutoNum type="arabicPeriod"/>
            </a:pPr>
            <a:r>
              <a:rPr lang="en-GB" b="0" i="0" dirty="0" err="1">
                <a:solidFill>
                  <a:srgbClr val="374151"/>
                </a:solidFill>
                <a:effectLst/>
                <a:latin typeface="Söhne"/>
              </a:rPr>
              <a:t>Treemap</a:t>
            </a:r>
            <a:r>
              <a:rPr lang="en-GB" b="0" i="0" dirty="0">
                <a:solidFill>
                  <a:srgbClr val="374151"/>
                </a:solidFill>
                <a:effectLst/>
                <a:latin typeface="Söhne"/>
              </a:rPr>
              <a:t>: </a:t>
            </a:r>
            <a:r>
              <a:rPr lang="en-GB" b="0" i="0" dirty="0" err="1">
                <a:solidFill>
                  <a:srgbClr val="374151"/>
                </a:solidFill>
                <a:effectLst/>
                <a:latin typeface="Söhne"/>
              </a:rPr>
              <a:t>Treemaps</a:t>
            </a:r>
            <a:r>
              <a:rPr lang="en-GB" b="0" i="0" dirty="0">
                <a:solidFill>
                  <a:srgbClr val="374151"/>
                </a:solidFill>
                <a:effectLst/>
                <a:latin typeface="Söhne"/>
              </a:rPr>
              <a:t> are used to display hierarchical data using nested rectangles or squares. Each rectangle represents a category, and its size corresponds to a quantitative value, such as sales revenue or market share. The </a:t>
            </a:r>
            <a:r>
              <a:rPr lang="en-GB" b="0" i="0" dirty="0" err="1">
                <a:solidFill>
                  <a:srgbClr val="374151"/>
                </a:solidFill>
                <a:effectLst/>
                <a:latin typeface="Söhne"/>
              </a:rPr>
              <a:t>treemap</a:t>
            </a:r>
            <a:r>
              <a:rPr lang="en-GB" b="0" i="0" dirty="0">
                <a:solidFill>
                  <a:srgbClr val="374151"/>
                </a:solidFill>
                <a:effectLst/>
                <a:latin typeface="Söhne"/>
              </a:rPr>
              <a:t> allows you to compare the sizes of different categories visually and see the hierarchical relationships between them. </a:t>
            </a:r>
            <a:r>
              <a:rPr lang="en-GB" b="0" i="0" dirty="0" err="1">
                <a:solidFill>
                  <a:srgbClr val="374151"/>
                </a:solidFill>
                <a:effectLst/>
                <a:latin typeface="Söhne"/>
              </a:rPr>
              <a:t>Treemaps</a:t>
            </a:r>
            <a:r>
              <a:rPr lang="en-GB" b="0" i="0" dirty="0">
                <a:solidFill>
                  <a:srgbClr val="374151"/>
                </a:solidFill>
                <a:effectLst/>
                <a:latin typeface="Söhne"/>
              </a:rPr>
              <a:t> are useful for visualizing and </a:t>
            </a:r>
            <a:r>
              <a:rPr lang="en-GB" b="0" i="0" dirty="0" err="1">
                <a:solidFill>
                  <a:srgbClr val="374151"/>
                </a:solidFill>
                <a:effectLst/>
                <a:latin typeface="Söhne"/>
              </a:rPr>
              <a:t>analyzing</a:t>
            </a:r>
            <a:r>
              <a:rPr lang="en-GB" b="0" i="0" dirty="0">
                <a:solidFill>
                  <a:srgbClr val="374151"/>
                </a:solidFill>
                <a:effectLst/>
                <a:latin typeface="Söhne"/>
              </a:rPr>
              <a:t> complex data structures, such as file sizes in a directory or the allocation of resources in a budget.</a:t>
            </a:r>
          </a:p>
          <a:p>
            <a:pPr marL="216000" indent="-216000" algn="l">
              <a:buFont typeface="+mj-lt"/>
              <a:buAutoNum type="arabicPeriod"/>
            </a:pPr>
            <a:r>
              <a:rPr lang="en-GB" b="0" i="0" dirty="0">
                <a:solidFill>
                  <a:srgbClr val="374151"/>
                </a:solidFill>
                <a:effectLst/>
                <a:latin typeface="Söhne"/>
              </a:rPr>
              <a:t>Sunburst Chart: Sunburst charts are also used to display hierarchical data, similar to </a:t>
            </a:r>
            <a:r>
              <a:rPr lang="en-GB" b="0" i="0" dirty="0" err="1">
                <a:solidFill>
                  <a:srgbClr val="374151"/>
                </a:solidFill>
                <a:effectLst/>
                <a:latin typeface="Söhne"/>
              </a:rPr>
              <a:t>treemaps</a:t>
            </a:r>
            <a:r>
              <a:rPr lang="en-GB" b="0" i="0" dirty="0">
                <a:solidFill>
                  <a:srgbClr val="374151"/>
                </a:solidFill>
                <a:effectLst/>
                <a:latin typeface="Söhne"/>
              </a:rPr>
              <a:t>, but in a circular format. The outer rings represent the main categories, and each subsequent ring represents subcategories or levels within the hierarchy. The size of each sector corresponds to a quantitative value. Sunburst charts are particularly effective in showing the composition and proportions of different categories within a whole. They are commonly used in data analysis, such as </a:t>
            </a:r>
            <a:r>
              <a:rPr lang="en-GB" b="0" i="0" dirty="0" err="1">
                <a:solidFill>
                  <a:srgbClr val="374151"/>
                </a:solidFill>
                <a:effectLst/>
                <a:latin typeface="Söhne"/>
              </a:rPr>
              <a:t>analyzing</a:t>
            </a:r>
            <a:r>
              <a:rPr lang="en-GB" b="0" i="0" dirty="0">
                <a:solidFill>
                  <a:srgbClr val="374151"/>
                </a:solidFill>
                <a:effectLst/>
                <a:latin typeface="Söhne"/>
              </a:rPr>
              <a:t> market segments or visualizing organizational structures.</a:t>
            </a:r>
          </a:p>
          <a:p>
            <a:endParaRPr lang="en-GB" dirty="0"/>
          </a:p>
        </p:txBody>
      </p:sp>
      <p:sp>
        <p:nvSpPr>
          <p:cNvPr id="4" name="Slide Number Placeholder 3"/>
          <p:cNvSpPr>
            <a:spLocks noGrp="1"/>
          </p:cNvSpPr>
          <p:nvPr>
            <p:ph type="sldNum" sz="quarter" idx="5"/>
          </p:nvPr>
        </p:nvSpPr>
        <p:spPr/>
        <p:txBody>
          <a:bodyPr/>
          <a:lstStyle/>
          <a:p>
            <a:fld id="{80A05A6B-C6A5-427A-8648-BAE9880475DD}" type="slidenum">
              <a:rPr lang="fr-BE" smtClean="0"/>
              <a:t>48</a:t>
            </a:fld>
            <a:endParaRPr lang="fr-BE"/>
          </a:p>
        </p:txBody>
      </p:sp>
    </p:spTree>
    <p:extLst>
      <p:ext uri="{BB962C8B-B14F-4D97-AF65-F5344CB8AC3E}">
        <p14:creationId xmlns:p14="http://schemas.microsoft.com/office/powerpoint/2010/main" val="1160021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WP death:</a:t>
            </a:r>
          </a:p>
          <a:p>
            <a:pPr marL="171450" indent="-171450">
              <a:buFont typeface="Arial" panose="020B0604020202020204" pitchFamily="34" charset="0"/>
              <a:buChar char="•"/>
            </a:pPr>
            <a:r>
              <a:rPr lang="en-GB" dirty="0"/>
              <a:t>Many slides</a:t>
            </a:r>
          </a:p>
          <a:p>
            <a:pPr marL="171450" indent="-171450">
              <a:buFont typeface="Arial" panose="020B0604020202020204" pitchFamily="34" charset="0"/>
              <a:buChar char="•"/>
            </a:pPr>
            <a:r>
              <a:rPr lang="en-GB" dirty="0"/>
              <a:t>Lots of text, small text</a:t>
            </a:r>
          </a:p>
          <a:p>
            <a:pPr marL="171450" indent="-171450">
              <a:buFont typeface="Arial" panose="020B0604020202020204" pitchFamily="34" charset="0"/>
              <a:buChar char="•"/>
            </a:pPr>
            <a:r>
              <a:rPr lang="en-GB" dirty="0"/>
              <a:t>Reading slides</a:t>
            </a:r>
          </a:p>
          <a:p>
            <a:pPr marL="171450" indent="-171450">
              <a:buFont typeface="Arial" panose="020B0604020202020204" pitchFamily="34" charset="0"/>
              <a:buChar char="•"/>
            </a:pPr>
            <a:r>
              <a:rPr lang="en-GB" dirty="0"/>
              <a:t>Unreadable content</a:t>
            </a:r>
          </a:p>
          <a:p>
            <a:pPr marL="171450" indent="-171450">
              <a:buFont typeface="Arial" panose="020B0604020202020204" pitchFamily="34" charset="0"/>
              <a:buChar char="•"/>
            </a:pPr>
            <a:r>
              <a:rPr lang="en-GB" dirty="0"/>
              <a:t>Irrelevant / boring content</a:t>
            </a:r>
          </a:p>
          <a:p>
            <a:pPr marL="171450" indent="-171450">
              <a:buFont typeface="Arial" panose="020B0604020202020204" pitchFamily="34" charset="0"/>
              <a:buChar char="•"/>
            </a:pPr>
            <a:r>
              <a:rPr lang="en-GB" dirty="0"/>
              <a:t>No interactivity </a:t>
            </a:r>
          </a:p>
          <a:p>
            <a:endParaRPr lang="en-GB" dirty="0"/>
          </a:p>
          <a:p>
            <a:r>
              <a:rPr lang="en-GB" dirty="0"/>
              <a:t>Drawing on flipchart:</a:t>
            </a:r>
          </a:p>
          <a:p>
            <a:pPr marL="171450" indent="-171450">
              <a:buFont typeface="Arial" panose="020B0604020202020204" pitchFamily="34" charset="0"/>
              <a:buChar char="•"/>
            </a:pPr>
            <a:r>
              <a:rPr lang="en-GB" dirty="0"/>
              <a:t>Support explanation with small drawings</a:t>
            </a:r>
          </a:p>
          <a:p>
            <a:pPr marL="171450" indent="-171450">
              <a:buFont typeface="Arial" panose="020B0604020202020204" pitchFamily="34" charset="0"/>
              <a:buChar char="•"/>
            </a:pPr>
            <a:r>
              <a:rPr lang="en-GB" dirty="0"/>
              <a:t>Add a dimension</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Verdana"/>
              </a:rPr>
              <a:t>Types of presentations</a:t>
            </a:r>
          </a:p>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4</a:t>
            </a:fld>
            <a:endParaRPr lang="en-GB"/>
          </a:p>
        </p:txBody>
      </p:sp>
    </p:spTree>
    <p:extLst>
      <p:ext uri="{BB962C8B-B14F-4D97-AF65-F5344CB8AC3E}">
        <p14:creationId xmlns:p14="http://schemas.microsoft.com/office/powerpoint/2010/main" val="2112293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49</a:t>
            </a:fld>
            <a:endParaRPr lang="en-GB"/>
          </a:p>
        </p:txBody>
      </p:sp>
    </p:spTree>
    <p:extLst>
      <p:ext uri="{BB962C8B-B14F-4D97-AF65-F5344CB8AC3E}">
        <p14:creationId xmlns:p14="http://schemas.microsoft.com/office/powerpoint/2010/main" val="287607348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50</a:t>
            </a:fld>
            <a:endParaRPr lang="en-GB"/>
          </a:p>
        </p:txBody>
      </p:sp>
    </p:spTree>
    <p:extLst>
      <p:ext uri="{BB962C8B-B14F-4D97-AF65-F5344CB8AC3E}">
        <p14:creationId xmlns:p14="http://schemas.microsoft.com/office/powerpoint/2010/main" val="8262675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51</a:t>
            </a:fld>
            <a:endParaRPr lang="en-GB"/>
          </a:p>
        </p:txBody>
      </p:sp>
    </p:spTree>
    <p:extLst>
      <p:ext uri="{BB962C8B-B14F-4D97-AF65-F5344CB8AC3E}">
        <p14:creationId xmlns:p14="http://schemas.microsoft.com/office/powerpoint/2010/main" val="40018670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52</a:t>
            </a:fld>
            <a:endParaRPr lang="en-GB"/>
          </a:p>
        </p:txBody>
      </p:sp>
    </p:spTree>
    <p:extLst>
      <p:ext uri="{BB962C8B-B14F-4D97-AF65-F5344CB8AC3E}">
        <p14:creationId xmlns:p14="http://schemas.microsoft.com/office/powerpoint/2010/main" val="1242503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owerPoint is presenter-oriented, and not content-oriented, not audience-oriented.</a:t>
            </a:r>
          </a:p>
          <a:p>
            <a:endParaRPr lang="en-GB" dirty="0"/>
          </a:p>
          <a:p>
            <a:r>
              <a:rPr lang="en-GB" dirty="0"/>
              <a:t>Visual reasoning usually works more effectively when the relevant information is shown adjacent in space within our </a:t>
            </a:r>
            <a:r>
              <a:rPr lang="en-GB" dirty="0" err="1"/>
              <a:t>eyespan</a:t>
            </a:r>
            <a:r>
              <a:rPr lang="en-GB" dirty="0"/>
              <a:t>. This is especially the case for statistical data, where the fundamental analytical act is to make comparisons.</a:t>
            </a:r>
          </a:p>
          <a:p>
            <a:endParaRPr lang="en-GB" dirty="0"/>
          </a:p>
          <a:p>
            <a:r>
              <a:rPr lang="en-GB" dirty="0"/>
              <a:t>Drawing on flipchart:</a:t>
            </a:r>
          </a:p>
          <a:p>
            <a:pPr marL="171450" indent="-171450">
              <a:buFont typeface="Arial" panose="020B0604020202020204" pitchFamily="34" charset="0"/>
              <a:buChar char="•"/>
            </a:pPr>
            <a:r>
              <a:rPr lang="en-GB" dirty="0"/>
              <a:t>Support explanation with small drawings</a:t>
            </a:r>
          </a:p>
          <a:p>
            <a:pPr marL="171450" indent="-171450">
              <a:buFont typeface="Arial" panose="020B0604020202020204" pitchFamily="34" charset="0"/>
              <a:buChar char="•"/>
            </a:pPr>
            <a:r>
              <a:rPr lang="en-GB" dirty="0"/>
              <a:t>Add a dimension</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Verdana"/>
              </a:rPr>
              <a:t>Types of presentations</a:t>
            </a:r>
          </a:p>
          <a:p>
            <a:endParaRPr lang="en-GB" dirty="0"/>
          </a:p>
          <a:p>
            <a:r>
              <a:rPr lang="en-GB" dirty="0"/>
              <a:t> Graphically:</a:t>
            </a:r>
          </a:p>
          <a:p>
            <a:pPr marL="171450" lvl="0" indent="-171450">
              <a:buFont typeface="Arial" panose="020B0604020202020204" pitchFamily="34" charset="0"/>
              <a:buChar char="•"/>
            </a:pPr>
            <a:r>
              <a:rPr lang="en-GB" dirty="0"/>
              <a:t>mind maps</a:t>
            </a:r>
          </a:p>
          <a:p>
            <a:pPr marL="171450" lvl="0" indent="-171450">
              <a:buFont typeface="Arial" panose="020B0604020202020204" pitchFamily="34" charset="0"/>
              <a:buChar char="•"/>
            </a:pPr>
            <a:r>
              <a:rPr lang="en-GB" dirty="0"/>
              <a:t>smart-art</a:t>
            </a:r>
          </a:p>
          <a:p>
            <a:pPr marL="171450" lvl="0" indent="-171450">
              <a:buFont typeface="Arial" panose="020B0604020202020204" pitchFamily="34" charset="0"/>
              <a:buChar char="•"/>
            </a:pPr>
            <a:r>
              <a:rPr lang="en-GB" dirty="0"/>
              <a:t>graphical representations</a:t>
            </a:r>
          </a:p>
          <a:p>
            <a:pPr marL="171450" lvl="0" indent="-171450">
              <a:buFont typeface="Arial" panose="020B0604020202020204" pitchFamily="34" charset="0"/>
              <a:buChar char="•"/>
            </a:pPr>
            <a:r>
              <a:rPr lang="en-GB" dirty="0"/>
              <a:t>Images</a:t>
            </a:r>
          </a:p>
        </p:txBody>
      </p:sp>
      <p:sp>
        <p:nvSpPr>
          <p:cNvPr id="4" name="Slide Number Placeholder 3"/>
          <p:cNvSpPr>
            <a:spLocks noGrp="1"/>
          </p:cNvSpPr>
          <p:nvPr>
            <p:ph type="sldNum" sz="quarter" idx="5"/>
          </p:nvPr>
        </p:nvSpPr>
        <p:spPr/>
        <p:txBody>
          <a:bodyPr/>
          <a:lstStyle/>
          <a:p>
            <a:fld id="{A1A46AB1-1683-41E0-A854-A1B5AC95CB72}" type="slidenum">
              <a:rPr lang="en-GB" smtClean="0"/>
              <a:t>5</a:t>
            </a:fld>
            <a:endParaRPr lang="en-GB"/>
          </a:p>
        </p:txBody>
      </p:sp>
    </p:spTree>
    <p:extLst>
      <p:ext uri="{BB962C8B-B14F-4D97-AF65-F5344CB8AC3E}">
        <p14:creationId xmlns:p14="http://schemas.microsoft.com/office/powerpoint/2010/main" val="3455533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ducing text</a:t>
            </a:r>
          </a:p>
          <a:p>
            <a:pPr marL="171450" indent="-171450">
              <a:buFont typeface="Arial" panose="020B0604020202020204" pitchFamily="34" charset="0"/>
              <a:buChar char="•"/>
            </a:pPr>
            <a:r>
              <a:rPr lang="en-GB" dirty="0"/>
              <a:t>Key phrases, key words</a:t>
            </a:r>
          </a:p>
          <a:p>
            <a:pPr marL="171450" indent="-171450">
              <a:buFont typeface="Arial" panose="020B0604020202020204" pitchFamily="34" charset="0"/>
              <a:buChar char="•"/>
            </a:pPr>
            <a:r>
              <a:rPr lang="en-GB" dirty="0"/>
              <a:t>Split slides</a:t>
            </a:r>
          </a:p>
          <a:p>
            <a:pPr marL="171450" indent="-171450">
              <a:buFont typeface="Arial" panose="020B0604020202020204" pitchFamily="34" charset="0"/>
              <a:buChar char="•"/>
            </a:pPr>
            <a:r>
              <a:rPr lang="en-GB" dirty="0"/>
              <a:t>Notes</a:t>
            </a:r>
          </a:p>
          <a:p>
            <a:pPr marL="171450" indent="-171450">
              <a:buFont typeface="Arial" panose="020B0604020202020204" pitchFamily="34" charset="0"/>
              <a:buChar char="•"/>
            </a:pPr>
            <a:r>
              <a:rPr lang="en-GB" dirty="0"/>
              <a:t>Translate into something graphically, smart arts, images</a:t>
            </a:r>
          </a:p>
          <a:p>
            <a:pPr marL="171450" indent="-171450">
              <a:buFont typeface="Arial" panose="020B0604020202020204" pitchFamily="34" charset="0"/>
              <a:buChar char="•"/>
            </a:pPr>
            <a:r>
              <a:rPr lang="en-GB" dirty="0"/>
              <a:t>Provide resources, links</a:t>
            </a:r>
          </a:p>
          <a:p>
            <a:endParaRPr lang="en-GB" dirty="0"/>
          </a:p>
          <a:p>
            <a:r>
              <a:rPr lang="en-GB" dirty="0"/>
              <a:t>PowerPoint is presenter-oriented, and not content-oriented, not audience-oriented.</a:t>
            </a:r>
          </a:p>
          <a:p>
            <a:r>
              <a:rPr lang="en-GB" dirty="0"/>
              <a:t>Visual reasoning usually works more effectively when the relevant information is shown adjacent in space within our </a:t>
            </a:r>
            <a:r>
              <a:rPr lang="en-GB" dirty="0" err="1"/>
              <a:t>eyespan</a:t>
            </a:r>
            <a:r>
              <a:rPr lang="en-GB" dirty="0"/>
              <a:t>. This is especially the case for statistical data, where the fundamental analytical act is to make comparisons.</a:t>
            </a:r>
          </a:p>
          <a:p>
            <a:endParaRPr lang="en-GB" dirty="0"/>
          </a:p>
          <a:p>
            <a:r>
              <a:rPr lang="en-GB" dirty="0"/>
              <a:t>Graphically:</a:t>
            </a:r>
          </a:p>
          <a:p>
            <a:pPr marL="171450" lvl="0" indent="-171450">
              <a:buFont typeface="Arial" panose="020B0604020202020204" pitchFamily="34" charset="0"/>
              <a:buChar char="•"/>
            </a:pPr>
            <a:r>
              <a:rPr lang="en-GB" dirty="0"/>
              <a:t>mind maps</a:t>
            </a:r>
          </a:p>
          <a:p>
            <a:pPr marL="171450" lvl="0" indent="-171450">
              <a:buFont typeface="Arial" panose="020B0604020202020204" pitchFamily="34" charset="0"/>
              <a:buChar char="•"/>
            </a:pPr>
            <a:r>
              <a:rPr lang="en-GB" dirty="0"/>
              <a:t>smart-art</a:t>
            </a:r>
          </a:p>
          <a:p>
            <a:pPr marL="171450" lvl="0" indent="-171450">
              <a:buFont typeface="Arial" panose="020B0604020202020204" pitchFamily="34" charset="0"/>
              <a:buChar char="•"/>
            </a:pPr>
            <a:r>
              <a:rPr lang="en-GB" dirty="0"/>
              <a:t>graphical representations : draw your key point</a:t>
            </a:r>
          </a:p>
          <a:p>
            <a:pPr marL="171450" lvl="0" indent="-171450">
              <a:buFont typeface="Arial" panose="020B0604020202020204" pitchFamily="34" charset="0"/>
              <a:buChar char="•"/>
            </a:pPr>
            <a:r>
              <a:rPr lang="en-GB" dirty="0"/>
              <a:t>Images</a:t>
            </a:r>
          </a:p>
          <a:p>
            <a:endParaRPr lang="en-GB" dirty="0"/>
          </a:p>
          <a:p>
            <a:r>
              <a:rPr lang="en-GB" dirty="0"/>
              <a:t>Bullet lists</a:t>
            </a:r>
          </a:p>
          <a:p>
            <a:pPr marL="171450" indent="-171450">
              <a:buFont typeface="Arial" panose="020B0604020202020204" pitchFamily="34" charset="0"/>
              <a:buChar char="•"/>
            </a:pPr>
            <a:r>
              <a:rPr lang="en-GB" dirty="0"/>
              <a:t>Bullet lists are typically too generic. </a:t>
            </a:r>
          </a:p>
          <a:p>
            <a:pPr marL="171450" indent="-171450">
              <a:buFont typeface="Arial" panose="020B0604020202020204" pitchFamily="34" charset="0"/>
              <a:buChar char="•"/>
            </a:pPr>
            <a:r>
              <a:rPr lang="en-GB" dirty="0"/>
              <a:t>Bullets leave critical relationships unspecified. </a:t>
            </a:r>
          </a:p>
          <a:p>
            <a:pPr marL="171450" indent="-171450">
              <a:buFont typeface="Arial" panose="020B0604020202020204" pitchFamily="34" charset="0"/>
              <a:buChar char="•"/>
            </a:pPr>
            <a:r>
              <a:rPr lang="en-GB" dirty="0"/>
              <a:t>Lists can communicate only three logical relationships: </a:t>
            </a:r>
          </a:p>
          <a:p>
            <a:pPr marL="628650" lvl="1" indent="-171450">
              <a:buFont typeface="Arial" panose="020B0604020202020204" pitchFamily="34" charset="0"/>
              <a:buChar char="•"/>
            </a:pPr>
            <a:r>
              <a:rPr lang="en-GB" dirty="0"/>
              <a:t>sequence (first to last in time)</a:t>
            </a:r>
          </a:p>
          <a:p>
            <a:pPr marL="628650" lvl="1" indent="-171450">
              <a:buFont typeface="Arial" panose="020B0604020202020204" pitchFamily="34" charset="0"/>
              <a:buChar char="•"/>
            </a:pPr>
            <a:r>
              <a:rPr lang="en-GB" dirty="0"/>
              <a:t>priority (least to most important or vice versa)</a:t>
            </a:r>
          </a:p>
          <a:p>
            <a:pPr marL="628650" lvl="1" indent="-171450">
              <a:buFont typeface="Arial" panose="020B0604020202020204" pitchFamily="34" charset="0"/>
              <a:buChar char="•"/>
            </a:pPr>
            <a:r>
              <a:rPr lang="en-GB" dirty="0"/>
              <a:t>simple membership in a set (these items relate to one another in some way, but the nature of that relationship remains unstated). </a:t>
            </a:r>
          </a:p>
          <a:p>
            <a:pPr marL="171450" indent="-171450">
              <a:buFont typeface="Arial" panose="020B0604020202020204" pitchFamily="34" charset="0"/>
              <a:buChar char="•"/>
            </a:pPr>
            <a:r>
              <a:rPr lang="en-GB" dirty="0"/>
              <a:t>And a list can show only one of those relationships at a time.</a:t>
            </a:r>
          </a:p>
          <a:p>
            <a:endParaRPr lang="en-GB" dirty="0"/>
          </a:p>
          <a:p>
            <a:r>
              <a:rPr lang="en-GB" dirty="0"/>
              <a:t>A better metaphor for presentations is good teaching. Teaching seeks to explain something with credibility, which is what many presentations are trying to do. </a:t>
            </a:r>
          </a:p>
          <a:p>
            <a:r>
              <a:rPr lang="en-GB" dirty="0"/>
              <a:t>The core ideas of teaching - explanation, reasoning, finding things out, questioning, … are contrary to the hierarchical market-pitch approach.</a:t>
            </a:r>
          </a:p>
          <a:p>
            <a:endParaRPr lang="en-GB" dirty="0"/>
          </a:p>
          <a:p>
            <a:r>
              <a:rPr lang="en-GB" dirty="0"/>
              <a:t>Designer formats will not salvage weak content. If your numbers are boring, then you've got the wrong numbers. If your words or images are not on point, making them dance in </a:t>
            </a:r>
            <a:r>
              <a:rPr lang="en-GB" dirty="0" err="1"/>
              <a:t>color</a:t>
            </a:r>
            <a:r>
              <a:rPr lang="en-GB" dirty="0"/>
              <a:t> won't make them relevant. Audience boredom is usually a content failure, not a decoration failure</a:t>
            </a:r>
          </a:p>
          <a:p>
            <a:endParaRPr lang="en-GB" dirty="0"/>
          </a:p>
          <a:p>
            <a:r>
              <a:rPr lang="en-GB" dirty="0"/>
              <a:t>Understood: clarity, short, to the point</a:t>
            </a:r>
          </a:p>
          <a:p>
            <a:r>
              <a:rPr lang="en-GB" dirty="0"/>
              <a:t>Remembered: imagery, slogans, acronym or mnemotechnical aids, quote</a:t>
            </a:r>
          </a:p>
          <a:p>
            <a:r>
              <a:rPr lang="en-GB" dirty="0"/>
              <a:t>Believed: date, graph, table, charisma</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10_20_30 Rule of PowerPoint - Guy Kawasaki</a:t>
            </a:r>
          </a:p>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6</a:t>
            </a:fld>
            <a:endParaRPr lang="en-GB"/>
          </a:p>
        </p:txBody>
      </p:sp>
    </p:spTree>
    <p:extLst>
      <p:ext uri="{BB962C8B-B14F-4D97-AF65-F5344CB8AC3E}">
        <p14:creationId xmlns:p14="http://schemas.microsoft.com/office/powerpoint/2010/main" val="2581724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6 * 6 </a:t>
            </a:r>
            <a:r>
              <a:rPr lang="nl-BE" dirty="0" err="1"/>
              <a:t>rule</a:t>
            </a:r>
            <a:r>
              <a:rPr lang="nl-BE" dirty="0"/>
              <a:t> – 6 </a:t>
            </a:r>
            <a:r>
              <a:rPr lang="nl-BE" dirty="0" err="1"/>
              <a:t>lines</a:t>
            </a:r>
            <a:r>
              <a:rPr lang="nl-BE" dirty="0"/>
              <a:t> of </a:t>
            </a:r>
            <a:r>
              <a:rPr lang="nl-BE" dirty="0" err="1"/>
              <a:t>text</a:t>
            </a:r>
            <a:r>
              <a:rPr lang="nl-BE" dirty="0"/>
              <a:t>, 6 </a:t>
            </a:r>
            <a:r>
              <a:rPr lang="nl-BE" dirty="0" err="1"/>
              <a:t>words</a:t>
            </a:r>
            <a:r>
              <a:rPr lang="nl-BE" dirty="0"/>
              <a:t> per line</a:t>
            </a:r>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7</a:t>
            </a:fld>
            <a:endParaRPr lang="en-GB"/>
          </a:p>
        </p:txBody>
      </p:sp>
    </p:spTree>
    <p:extLst>
      <p:ext uri="{BB962C8B-B14F-4D97-AF65-F5344CB8AC3E}">
        <p14:creationId xmlns:p14="http://schemas.microsoft.com/office/powerpoint/2010/main" val="1392925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dirty="0"/>
              <a:t>6 * 6 </a:t>
            </a:r>
            <a:r>
              <a:rPr lang="nl-BE" dirty="0" err="1"/>
              <a:t>rule</a:t>
            </a:r>
            <a:r>
              <a:rPr lang="nl-BE" dirty="0"/>
              <a:t> – 6 </a:t>
            </a:r>
            <a:r>
              <a:rPr lang="nl-BE" dirty="0" err="1"/>
              <a:t>lines</a:t>
            </a:r>
            <a:r>
              <a:rPr lang="nl-BE" dirty="0"/>
              <a:t> of </a:t>
            </a:r>
            <a:r>
              <a:rPr lang="nl-BE" dirty="0" err="1"/>
              <a:t>text</a:t>
            </a:r>
            <a:r>
              <a:rPr lang="nl-BE" dirty="0"/>
              <a:t>, 6 </a:t>
            </a:r>
            <a:r>
              <a:rPr lang="nl-BE" dirty="0" err="1"/>
              <a:t>words</a:t>
            </a:r>
            <a:r>
              <a:rPr lang="nl-BE" dirty="0"/>
              <a:t> per line</a:t>
            </a:r>
            <a:endParaRPr lang="en-GB" dirty="0"/>
          </a:p>
          <a:p>
            <a:endParaRPr lang="nl-BE" dirty="0"/>
          </a:p>
        </p:txBody>
      </p:sp>
      <p:sp>
        <p:nvSpPr>
          <p:cNvPr id="4" name="Tijdelijke aanduiding voor dianummer 3"/>
          <p:cNvSpPr>
            <a:spLocks noGrp="1"/>
          </p:cNvSpPr>
          <p:nvPr>
            <p:ph type="sldNum" sz="quarter" idx="5"/>
          </p:nvPr>
        </p:nvSpPr>
        <p:spPr/>
        <p:txBody>
          <a:bodyPr/>
          <a:lstStyle/>
          <a:p>
            <a:fld id="{A1A46AB1-1683-41E0-A854-A1B5AC95CB72}" type="slidenum">
              <a:rPr lang="en-GB" smtClean="0"/>
              <a:t>8</a:t>
            </a:fld>
            <a:endParaRPr lang="en-GB"/>
          </a:p>
        </p:txBody>
      </p:sp>
    </p:spTree>
    <p:extLst>
      <p:ext uri="{BB962C8B-B14F-4D97-AF65-F5344CB8AC3E}">
        <p14:creationId xmlns:p14="http://schemas.microsoft.com/office/powerpoint/2010/main" val="2758016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A46AB1-1683-41E0-A854-A1B5AC95CB72}" type="slidenum">
              <a:rPr lang="en-GB" smtClean="0"/>
              <a:t>9</a:t>
            </a:fld>
            <a:endParaRPr lang="en-GB" dirty="0"/>
          </a:p>
        </p:txBody>
      </p:sp>
    </p:spTree>
    <p:extLst>
      <p:ext uri="{BB962C8B-B14F-4D97-AF65-F5344CB8AC3E}">
        <p14:creationId xmlns:p14="http://schemas.microsoft.com/office/powerpoint/2010/main" val="4219455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dirty="0"/>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6403777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918457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7898506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0B04B5-6889-374E-85BC-92E650E418ED}"/>
              </a:ext>
            </a:extLst>
          </p:cNvPr>
          <p:cNvSpPr>
            <a:spLocks noGrp="1"/>
          </p:cNvSpPr>
          <p:nvPr>
            <p:ph type="title"/>
          </p:nvPr>
        </p:nvSpPr>
        <p:spPr>
          <a:xfrm>
            <a:off x="1852612" y="654847"/>
            <a:ext cx="8905876" cy="539750"/>
          </a:xfrm>
          <a:prstGeom prst="rect">
            <a:avLst/>
          </a:prstGeom>
        </p:spPr>
        <p:txBody>
          <a:bodyPr/>
          <a:lstStyle>
            <a:lvl1pPr>
              <a:defRPr sz="3200" b="1" i="0" baseline="0">
                <a:latin typeface="Poppins" pitchFamily="2" charset="77"/>
              </a:defRPr>
            </a:lvl1pPr>
          </a:lstStyle>
          <a:p>
            <a:r>
              <a:rPr lang="en-US"/>
              <a:t>Click to edit Master title style</a:t>
            </a:r>
            <a:endParaRPr lang="nl-BE" dirty="0"/>
          </a:p>
        </p:txBody>
      </p:sp>
      <p:sp>
        <p:nvSpPr>
          <p:cNvPr id="4" name="Tijdelijke aanduiding voor datum 3">
            <a:extLst>
              <a:ext uri="{FF2B5EF4-FFF2-40B4-BE49-F238E27FC236}">
                <a16:creationId xmlns:a16="http://schemas.microsoft.com/office/drawing/2014/main" id="{ED0AF0D7-E0BA-514E-A666-477249A482F4}"/>
              </a:ext>
            </a:extLst>
          </p:cNvPr>
          <p:cNvSpPr>
            <a:spLocks noGrp="1"/>
          </p:cNvSpPr>
          <p:nvPr>
            <p:ph type="dt" sz="half" idx="10"/>
          </p:nvPr>
        </p:nvSpPr>
        <p:spPr>
          <a:xfrm>
            <a:off x="352425" y="6356349"/>
            <a:ext cx="2743200" cy="365125"/>
          </a:xfrm>
          <a:prstGeom prst="rect">
            <a:avLst/>
          </a:prstGeom>
        </p:spPr>
        <p:txBody>
          <a:bodyPr/>
          <a:lstStyle>
            <a:lvl1pPr>
              <a:defRPr sz="1750" baseline="0">
                <a:latin typeface="Roboto" panose="02000000000000000000" pitchFamily="2" charset="0"/>
              </a:defRPr>
            </a:lvl1pPr>
          </a:lstStyle>
          <a:p>
            <a:fld id="{97E5C796-BFA4-8D42-9964-11A803781FC5}" type="datetimeFigureOut">
              <a:rPr lang="nl-BE" smtClean="0"/>
              <a:pPr/>
              <a:t>4/03/2024</a:t>
            </a:fld>
            <a:endParaRPr lang="nl-BE" dirty="0"/>
          </a:p>
        </p:txBody>
      </p:sp>
      <p:sp>
        <p:nvSpPr>
          <p:cNvPr id="5" name="Tijdelijke aanduiding voor inhoud 2">
            <a:extLst>
              <a:ext uri="{FF2B5EF4-FFF2-40B4-BE49-F238E27FC236}">
                <a16:creationId xmlns:a16="http://schemas.microsoft.com/office/drawing/2014/main" id="{9A186A8A-5C97-9940-A312-DCC9A9C71CD0}"/>
              </a:ext>
            </a:extLst>
          </p:cNvPr>
          <p:cNvSpPr>
            <a:spLocks noGrp="1"/>
          </p:cNvSpPr>
          <p:nvPr>
            <p:ph idx="11"/>
          </p:nvPr>
        </p:nvSpPr>
        <p:spPr>
          <a:xfrm>
            <a:off x="1852612" y="1320007"/>
            <a:ext cx="8905876" cy="4652167"/>
          </a:xfrm>
          <a:prstGeom prst="rect">
            <a:avLst/>
          </a:prstGeom>
        </p:spPr>
        <p:txBody>
          <a:bodyPr/>
          <a:lstStyle>
            <a:lvl1pPr marL="0" indent="0">
              <a:buClr>
                <a:srgbClr val="00D59B"/>
              </a:buClr>
              <a:buFontTx/>
              <a:buNone/>
              <a:defRPr sz="2000" b="0" i="0" baseline="0">
                <a:latin typeface="Roboto" panose="02000000000000000000" pitchFamily="2" charset="0"/>
              </a:defRPr>
            </a:lvl1pPr>
            <a:lvl2pPr marL="457200" indent="0">
              <a:buFontTx/>
              <a:buNone/>
              <a:defRPr sz="2000" baseline="0">
                <a:latin typeface="Roboto" panose="02000000000000000000" pitchFamily="2" charset="0"/>
              </a:defRPr>
            </a:lvl2pPr>
            <a:lvl3pPr marL="914400" indent="0">
              <a:buFontTx/>
              <a:buNone/>
              <a:defRPr sz="2000" baseline="0">
                <a:latin typeface="Roboto" panose="02000000000000000000" pitchFamily="2" charset="0"/>
              </a:defRPr>
            </a:lvl3pPr>
            <a:lvl4pPr marL="1371600" indent="0">
              <a:buFontTx/>
              <a:buNone/>
              <a:defRPr sz="2000" baseline="0">
                <a:latin typeface="Roboto" panose="02000000000000000000" pitchFamily="2" charset="0"/>
              </a:defRPr>
            </a:lvl4pPr>
            <a:lvl5pPr marL="1828800" indent="0">
              <a:buFont typeface="Wingdings" pitchFamily="2" charset="2"/>
              <a:buNone/>
              <a:defRPr sz="2000" baseline="0">
                <a:latin typeface="Roboto" panose="02000000000000000000" pitchFamily="2" charset="0"/>
              </a:defRPr>
            </a:lvl5pPr>
          </a:lstStyle>
          <a:p>
            <a:pPr lvl="0"/>
            <a:r>
              <a:rPr lang="en-US"/>
              <a:t>Click to edit Master text styles</a:t>
            </a:r>
          </a:p>
        </p:txBody>
      </p:sp>
    </p:spTree>
    <p:extLst>
      <p:ext uri="{BB962C8B-B14F-4D97-AF65-F5344CB8AC3E}">
        <p14:creationId xmlns:p14="http://schemas.microsoft.com/office/powerpoint/2010/main" val="314146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266700" indent="-266700">
              <a:buSzPct val="70000"/>
              <a:defRPr/>
            </a:lvl1pPr>
          </a:lstStyle>
          <a:p>
            <a:pPr lvl="0"/>
            <a:r>
              <a:rPr lang="en-US" dirty="0"/>
              <a:t>Click to edit Master text styles</a:t>
            </a:r>
          </a:p>
          <a:p>
            <a:pPr lvl="1"/>
            <a:r>
              <a:rPr lang="en-US" dirty="0"/>
              <a:t>Second level</a:t>
            </a:r>
          </a:p>
        </p:txBody>
      </p:sp>
      <p:sp>
        <p:nvSpPr>
          <p:cNvPr id="4" name="Date Placeholder 3"/>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9481979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a:blipFill dpi="0" rotWithShape="1">
            <a:blip r:embed="rId2">
              <a:alphaModFix amt="47000"/>
              <a:duotone>
                <a:schemeClr val="accent2">
                  <a:shade val="45000"/>
                  <a:satMod val="135000"/>
                </a:schemeClr>
                <a:prstClr val="white"/>
              </a:duotone>
              <a:extLst>
                <a:ext uri="{BEBA8EAE-BF5A-486C-A8C5-ECC9F3942E4B}">
                  <a14:imgProps xmlns:a14="http://schemas.microsoft.com/office/drawing/2010/main">
                    <a14:imgLayer r:embed="rId3">
                      <a14:imgEffect>
                        <a14:colorTemperature colorTemp="11200"/>
                      </a14:imgEffect>
                    </a14:imgLayer>
                  </a14:imgProps>
                </a:ext>
              </a:extLst>
            </a:blip>
            <a:srcRect/>
            <a:stretch>
              <a:fillRect l="-1000" r="-1000"/>
            </a:stretch>
          </a:blipFill>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653914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4"/>
            <a:ext cx="10058400" cy="900000"/>
          </a:xfrm>
        </p:spPr>
        <p:txBody>
          <a:bodyPr/>
          <a:lstStyle/>
          <a:p>
            <a:r>
              <a:rPr lang="en-US" dirty="0"/>
              <a:t>Click to edit Master title style</a:t>
            </a:r>
          </a:p>
        </p:txBody>
      </p:sp>
      <p:sp>
        <p:nvSpPr>
          <p:cNvPr id="3" name="Content Placeholder 2"/>
          <p:cNvSpPr>
            <a:spLocks noGrp="1"/>
          </p:cNvSpPr>
          <p:nvPr>
            <p:ph sz="half" idx="1"/>
          </p:nvPr>
        </p:nvSpPr>
        <p:spPr>
          <a:xfrm>
            <a:off x="1097278" y="1407560"/>
            <a:ext cx="4937760" cy="4461534"/>
          </a:xfrm>
        </p:spPr>
        <p:txBody>
          <a:body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6217920" y="1407561"/>
            <a:ext cx="4937760" cy="4461534"/>
          </a:xfrm>
        </p:spPr>
        <p:txBody>
          <a:body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695784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4"/>
            <a:ext cx="10058400" cy="9000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383721"/>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317120"/>
            <a:ext cx="4937760" cy="3643414"/>
          </a:xfrm>
        </p:spPr>
        <p:txBody>
          <a:bodyPr/>
          <a:lstStyle/>
          <a:p>
            <a:pPr lvl="0"/>
            <a:r>
              <a:rPr lang="en-US" dirty="0"/>
              <a:t>Click to edit Master text styles</a:t>
            </a:r>
          </a:p>
          <a:p>
            <a:pPr lvl="1"/>
            <a:r>
              <a:rPr lang="en-US" dirty="0"/>
              <a:t>Second level</a:t>
            </a:r>
          </a:p>
        </p:txBody>
      </p:sp>
      <p:sp>
        <p:nvSpPr>
          <p:cNvPr id="5" name="Text Placeholder 4"/>
          <p:cNvSpPr>
            <a:spLocks noGrp="1"/>
          </p:cNvSpPr>
          <p:nvPr>
            <p:ph type="body" sz="quarter" idx="3"/>
          </p:nvPr>
        </p:nvSpPr>
        <p:spPr>
          <a:xfrm>
            <a:off x="6217920" y="1383721"/>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317120"/>
            <a:ext cx="4937760" cy="3643414"/>
          </a:xfrm>
        </p:spPr>
        <p:txBody>
          <a:bodyPr/>
          <a:lstStyle/>
          <a:p>
            <a:pPr lvl="0"/>
            <a:r>
              <a:rPr lang="en-US" dirty="0"/>
              <a:t>Click to edit Master text styles</a:t>
            </a:r>
          </a:p>
          <a:p>
            <a:pPr lvl="1"/>
            <a:r>
              <a:rPr lang="en-US" dirty="0"/>
              <a:t>Second level</a:t>
            </a:r>
          </a:p>
        </p:txBody>
      </p:sp>
      <p:sp>
        <p:nvSpPr>
          <p:cNvPr id="7" name="Date Placeholder 6"/>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318477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37903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2481027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dirty="0"/>
              <a:t>Click to edit Master text styles</a:t>
            </a:r>
          </a:p>
          <a:p>
            <a:pPr lvl="1"/>
            <a:r>
              <a:rPr lang="en-US" dirty="0"/>
              <a:t>Second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B61BEF0D-F0BB-DE4B-95CE-6DB70DBA9567}" type="datetimeFigureOut">
              <a:rPr lang="en-US" smtClean="0"/>
              <a:pPr/>
              <a:t>3/4/2024</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25782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3/4/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97828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4"/>
            <a:ext cx="10058400" cy="900000"/>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1097280" y="1453495"/>
            <a:ext cx="10058400" cy="4415599"/>
          </a:xfrm>
          <a:prstGeom prst="rect">
            <a:avLst/>
          </a:prstGeom>
        </p:spPr>
        <p:txBody>
          <a:bodyPr vert="horz" lIns="90000" tIns="45720" rIns="9000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B61BEF0D-F0BB-DE4B-95CE-6DB70DBA9567}" type="datetimeFigureOut">
              <a:rPr lang="en-US" smtClean="0"/>
              <a:pPr/>
              <a:t>3/4/2024</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7784874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Lst>
  <p:txStyles>
    <p:titleStyle>
      <a:lvl1pPr algn="l" defTabSz="914400" rtl="0" eaLnBrk="1" latinLnBrk="0" hangingPunct="1">
        <a:lnSpc>
          <a:spcPct val="85000"/>
        </a:lnSpc>
        <a:spcBef>
          <a:spcPct val="0"/>
        </a:spcBef>
        <a:buNone/>
        <a:defRPr sz="4400" kern="1200" spc="-50" baseline="0">
          <a:solidFill>
            <a:schemeClr val="tx1">
              <a:lumMod val="75000"/>
              <a:lumOff val="25000"/>
            </a:schemeClr>
          </a:solidFill>
          <a:latin typeface="+mj-lt"/>
          <a:ea typeface="+mj-ea"/>
          <a:cs typeface="+mj-cs"/>
        </a:defRPr>
      </a:lvl1pPr>
    </p:titleStyle>
    <p:bodyStyle>
      <a:lvl1pPr marL="266700" indent="-266700" algn="l" defTabSz="914400" rtl="0" eaLnBrk="1" latinLnBrk="0" hangingPunct="1">
        <a:lnSpc>
          <a:spcPct val="90000"/>
        </a:lnSpc>
        <a:spcBef>
          <a:spcPts val="1200"/>
        </a:spcBef>
        <a:spcAft>
          <a:spcPts val="200"/>
        </a:spcAft>
        <a:buClr>
          <a:schemeClr val="accent1"/>
        </a:buClr>
        <a:buSzPct val="100000"/>
        <a:buFont typeface="Wingdings" panose="05000000000000000000" pitchFamily="2" charset="2"/>
        <a:buChar char="Ø"/>
        <a:defRPr sz="28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20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6.xml"/><Relationship Id="rId5" Type="http://schemas.microsoft.com/office/2007/relationships/hdphoto" Target="../media/hdphoto2.wdp"/><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slide" Target="slide39.xml"/><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slide" Target="slide3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slide" Target="slide28.xml"/><Relationship Id="rId5" Type="http://schemas.openxmlformats.org/officeDocument/2006/relationships/image" Target="../media/image4.png"/><Relationship Id="rId10" Type="http://schemas.openxmlformats.org/officeDocument/2006/relationships/slide" Target="slide11.xml"/><Relationship Id="rId4" Type="http://schemas.openxmlformats.org/officeDocument/2006/relationships/image" Target="../media/image3.png"/><Relationship Id="rId9" Type="http://schemas.openxmlformats.org/officeDocument/2006/relationships/slide" Target="slide3.xml"/><Relationship Id="rId14" Type="http://schemas.openxmlformats.org/officeDocument/2006/relationships/slide" Target="slide51.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microsoft.com/office/2007/relationships/hdphoto" Target="../media/hdphoto4.wdp"/><Relationship Id="rId5" Type="http://schemas.openxmlformats.org/officeDocument/2006/relationships/image" Target="../media/image33.png"/><Relationship Id="rId4" Type="http://schemas.microsoft.com/office/2007/relationships/hdphoto" Target="../media/hdphoto3.wdp"/></Relationships>
</file>

<file path=ppt/slides/_rels/slide2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52.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53.png"/><Relationship Id="rId5" Type="http://schemas.openxmlformats.org/officeDocument/2006/relationships/image" Target="../media/image52.emf"/><Relationship Id="rId4"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44.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6.xml"/><Relationship Id="rId6" Type="http://schemas.microsoft.com/office/2007/relationships/hdphoto" Target="../media/hdphoto5.wdp"/><Relationship Id="rId5" Type="http://schemas.openxmlformats.org/officeDocument/2006/relationships/image" Target="../media/image57.png"/><Relationship Id="rId4" Type="http://schemas.openxmlformats.org/officeDocument/2006/relationships/image" Target="../media/image56.emf"/></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9.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40.xml"/><Relationship Id="rId1" Type="http://schemas.openxmlformats.org/officeDocument/2006/relationships/slideLayout" Target="../slideLayouts/slideLayout7.xml"/><Relationship Id="rId5" Type="http://schemas.openxmlformats.org/officeDocument/2006/relationships/audio" Target="../media/audio1.wav"/><Relationship Id="rId4" Type="http://schemas.openxmlformats.org/officeDocument/2006/relationships/image" Target="../media/image59.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hyperlink" Target="https://www.publicdomainpictures.net/view-image.php?image=62515&amp;picture=birds" TargetMode="External"/><Relationship Id="rId2" Type="http://schemas.openxmlformats.org/officeDocument/2006/relationships/image" Target="../media/image62.jp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hyperlink" Target="http://www.perceptualedge.com/" TargetMode="External"/><Relationship Id="rId2" Type="http://schemas.openxmlformats.org/officeDocument/2006/relationships/hyperlink" Target="http://www.edwardtufte.com/" TargetMode="External"/><Relationship Id="rId1" Type="http://schemas.openxmlformats.org/officeDocument/2006/relationships/slideLayout" Target="../slideLayouts/slideLayout2.xml"/><Relationship Id="rId4" Type="http://schemas.openxmlformats.org/officeDocument/2006/relationships/image" Target="../media/image63.jpeg"/></Relationships>
</file>

<file path=ppt/slides/_rels/slide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el 24">
            <a:extLst>
              <a:ext uri="{FF2B5EF4-FFF2-40B4-BE49-F238E27FC236}">
                <a16:creationId xmlns:a16="http://schemas.microsoft.com/office/drawing/2014/main" id="{7FBEAF2B-D222-15D5-D69D-281C7681E1D6}"/>
              </a:ext>
            </a:extLst>
          </p:cNvPr>
          <p:cNvSpPr>
            <a:spLocks noGrp="1"/>
          </p:cNvSpPr>
          <p:nvPr>
            <p:ph type="ctrTitle"/>
          </p:nvPr>
        </p:nvSpPr>
        <p:spPr/>
        <p:txBody>
          <a:bodyPr/>
          <a:lstStyle/>
          <a:p>
            <a:r>
              <a:rPr lang="nl-BE" dirty="0"/>
              <a:t>PowerPoint </a:t>
            </a:r>
            <a:r>
              <a:rPr lang="nl-BE" dirty="0" err="1"/>
              <a:t>Presentations</a:t>
            </a:r>
            <a:br>
              <a:rPr lang="nl-BE" dirty="0"/>
            </a:br>
            <a:endParaRPr lang="nl-BE" dirty="0"/>
          </a:p>
        </p:txBody>
      </p:sp>
      <p:sp>
        <p:nvSpPr>
          <p:cNvPr id="13" name="Tijdelijke aanduiding voor tekst 12">
            <a:extLst>
              <a:ext uri="{FF2B5EF4-FFF2-40B4-BE49-F238E27FC236}">
                <a16:creationId xmlns:a16="http://schemas.microsoft.com/office/drawing/2014/main" id="{6DA9C885-F4EB-8A18-5012-13C112B9F4DC}"/>
              </a:ext>
            </a:extLst>
          </p:cNvPr>
          <p:cNvSpPr>
            <a:spLocks noGrp="1"/>
          </p:cNvSpPr>
          <p:nvPr>
            <p:ph type="subTitle" idx="1"/>
          </p:nvPr>
        </p:nvSpPr>
        <p:spPr/>
        <p:txBody>
          <a:bodyPr/>
          <a:lstStyle/>
          <a:p>
            <a:r>
              <a:rPr lang="nl-BE" dirty="0"/>
              <a:t>1/1/2024</a:t>
            </a:r>
          </a:p>
        </p:txBody>
      </p:sp>
    </p:spTree>
    <p:extLst>
      <p:ext uri="{BB962C8B-B14F-4D97-AF65-F5344CB8AC3E}">
        <p14:creationId xmlns:p14="http://schemas.microsoft.com/office/powerpoint/2010/main" val="4103164097"/>
      </p:ext>
    </p:extLst>
  </p:cSld>
  <p:clrMapOvr>
    <a:masterClrMapping/>
  </p:clrMapOvr>
  <p:transition spd="slow">
    <p:push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9B889-F6FC-A3BB-4590-3ED68F76167F}"/>
              </a:ext>
            </a:extLst>
          </p:cNvPr>
          <p:cNvSpPr>
            <a:spLocks noGrp="1"/>
          </p:cNvSpPr>
          <p:nvPr>
            <p:ph type="title"/>
          </p:nvPr>
        </p:nvSpPr>
        <p:spPr>
          <a:xfrm>
            <a:off x="1097280" y="286603"/>
            <a:ext cx="10058400" cy="1280939"/>
          </a:xfrm>
        </p:spPr>
        <p:txBody>
          <a:bodyPr>
            <a:normAutofit/>
          </a:bodyPr>
          <a:lstStyle/>
          <a:p>
            <a:r>
              <a:rPr lang="en-GB" dirty="0"/>
              <a:t>Present content</a:t>
            </a:r>
            <a:br>
              <a:rPr lang="en-GB" dirty="0"/>
            </a:br>
            <a:r>
              <a:rPr lang="en-GB" dirty="0"/>
              <a:t>strategically</a:t>
            </a:r>
          </a:p>
        </p:txBody>
      </p:sp>
      <p:graphicFrame>
        <p:nvGraphicFramePr>
          <p:cNvPr id="4" name="Content Placeholder 3">
            <a:extLst>
              <a:ext uri="{FF2B5EF4-FFF2-40B4-BE49-F238E27FC236}">
                <a16:creationId xmlns:a16="http://schemas.microsoft.com/office/drawing/2014/main" id="{561E3591-1548-B02F-9852-E322965F94B2}"/>
              </a:ext>
            </a:extLst>
          </p:cNvPr>
          <p:cNvGraphicFramePr>
            <a:graphicFrameLocks noGrp="1"/>
          </p:cNvGraphicFramePr>
          <p:nvPr>
            <p:ph idx="1"/>
            <p:extLst>
              <p:ext uri="{D42A27DB-BD31-4B8C-83A1-F6EECF244321}">
                <p14:modId xmlns:p14="http://schemas.microsoft.com/office/powerpoint/2010/main" val="3043879309"/>
              </p:ext>
            </p:extLst>
          </p:nvPr>
        </p:nvGraphicFramePr>
        <p:xfrm>
          <a:off x="2266323" y="415895"/>
          <a:ext cx="10058400" cy="5553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49409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13A46-253E-7232-5414-4DC97740E9D2}"/>
              </a:ext>
            </a:extLst>
          </p:cNvPr>
          <p:cNvSpPr>
            <a:spLocks noGrp="1"/>
          </p:cNvSpPr>
          <p:nvPr>
            <p:ph type="title"/>
          </p:nvPr>
        </p:nvSpPr>
        <p:spPr/>
        <p:txBody>
          <a:bodyPr/>
          <a:lstStyle/>
          <a:p>
            <a:r>
              <a:rPr lang="en-GB" dirty="0"/>
              <a:t>How does PWP work?</a:t>
            </a:r>
          </a:p>
        </p:txBody>
      </p:sp>
      <p:sp>
        <p:nvSpPr>
          <p:cNvPr id="4" name="Text Placeholder 3">
            <a:extLst>
              <a:ext uri="{FF2B5EF4-FFF2-40B4-BE49-F238E27FC236}">
                <a16:creationId xmlns:a16="http://schemas.microsoft.com/office/drawing/2014/main" id="{17ECE695-4886-7C6F-82DE-46290A852905}"/>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79809155"/>
      </p:ext>
    </p:extLst>
  </p:cSld>
  <p:clrMapOvr>
    <a:masterClrMapping/>
  </p:clrMapOvr>
  <p:transition spd="slow">
    <p:push dir="r"/>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4E767-431F-1333-6D03-0A51664C8847}"/>
              </a:ext>
            </a:extLst>
          </p:cNvPr>
          <p:cNvSpPr>
            <a:spLocks noGrp="1"/>
          </p:cNvSpPr>
          <p:nvPr>
            <p:ph type="title"/>
          </p:nvPr>
        </p:nvSpPr>
        <p:spPr/>
        <p:txBody>
          <a:bodyPr/>
          <a:lstStyle/>
          <a:p>
            <a:r>
              <a:rPr lang="en-GB" dirty="0"/>
              <a:t>The basic interface</a:t>
            </a:r>
          </a:p>
        </p:txBody>
      </p:sp>
      <p:sp>
        <p:nvSpPr>
          <p:cNvPr id="3" name="Content Placeholder 2">
            <a:extLst>
              <a:ext uri="{FF2B5EF4-FFF2-40B4-BE49-F238E27FC236}">
                <a16:creationId xmlns:a16="http://schemas.microsoft.com/office/drawing/2014/main" id="{96799EDF-EAFB-A4ED-741F-0575EC500AC6}"/>
              </a:ext>
            </a:extLst>
          </p:cNvPr>
          <p:cNvSpPr>
            <a:spLocks noGrp="1"/>
          </p:cNvSpPr>
          <p:nvPr>
            <p:ph idx="1"/>
          </p:nvPr>
        </p:nvSpPr>
        <p:spPr/>
        <p:txBody>
          <a:bodyPr/>
          <a:lstStyle/>
          <a:p>
            <a:r>
              <a:rPr lang="en-GB" dirty="0"/>
              <a:t>Ribbons</a:t>
            </a:r>
          </a:p>
          <a:p>
            <a:r>
              <a:rPr lang="en-GB" dirty="0"/>
              <a:t>Views</a:t>
            </a:r>
          </a:p>
          <a:p>
            <a:r>
              <a:rPr lang="en-GB" dirty="0"/>
              <a:t>Quick access toolbar</a:t>
            </a:r>
          </a:p>
          <a:p>
            <a:r>
              <a:rPr lang="en-GB" dirty="0"/>
              <a:t>Backstage and options</a:t>
            </a:r>
          </a:p>
          <a:p>
            <a:r>
              <a:rPr lang="en-GB" dirty="0"/>
              <a:t>File formats</a:t>
            </a:r>
          </a:p>
          <a:p>
            <a:endParaRPr lang="en-GB" dirty="0"/>
          </a:p>
        </p:txBody>
      </p:sp>
    </p:spTree>
    <p:extLst>
      <p:ext uri="{BB962C8B-B14F-4D97-AF65-F5344CB8AC3E}">
        <p14:creationId xmlns:p14="http://schemas.microsoft.com/office/powerpoint/2010/main" val="42686623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F4E767-431F-1333-6D03-0A51664C8847}"/>
              </a:ext>
            </a:extLst>
          </p:cNvPr>
          <p:cNvSpPr>
            <a:spLocks noGrp="1"/>
          </p:cNvSpPr>
          <p:nvPr>
            <p:ph type="title"/>
          </p:nvPr>
        </p:nvSpPr>
        <p:spPr/>
        <p:txBody>
          <a:bodyPr/>
          <a:lstStyle/>
          <a:p>
            <a:r>
              <a:rPr lang="en-GB" dirty="0"/>
              <a:t>The basic interface</a:t>
            </a:r>
          </a:p>
        </p:txBody>
      </p:sp>
      <p:grpSp>
        <p:nvGrpSpPr>
          <p:cNvPr id="18" name="Groep 17">
            <a:extLst>
              <a:ext uri="{FF2B5EF4-FFF2-40B4-BE49-F238E27FC236}">
                <a16:creationId xmlns:a16="http://schemas.microsoft.com/office/drawing/2014/main" id="{4D754E90-0CEB-D7BE-5526-3EA03B9B076A}"/>
              </a:ext>
            </a:extLst>
          </p:cNvPr>
          <p:cNvGrpSpPr/>
          <p:nvPr/>
        </p:nvGrpSpPr>
        <p:grpSpPr>
          <a:xfrm>
            <a:off x="707572" y="781041"/>
            <a:ext cx="9160862" cy="5295918"/>
            <a:chOff x="1139666" y="1125460"/>
            <a:chExt cx="8381705" cy="4620584"/>
          </a:xfrm>
        </p:grpSpPr>
        <p:pic>
          <p:nvPicPr>
            <p:cNvPr id="10" name="Picture 9">
              <a:extLst>
                <a:ext uri="{FF2B5EF4-FFF2-40B4-BE49-F238E27FC236}">
                  <a16:creationId xmlns:a16="http://schemas.microsoft.com/office/drawing/2014/main" id="{88089F12-5A81-46E4-78C4-12935ED0CD3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39666" y="2120163"/>
              <a:ext cx="6268042" cy="3625881"/>
            </a:xfrm>
            <a:prstGeom prst="rect">
              <a:avLst/>
            </a:prstGeom>
          </p:spPr>
        </p:pic>
        <p:sp>
          <p:nvSpPr>
            <p:cNvPr id="4" name="Ovaal 3">
              <a:extLst>
                <a:ext uri="{FF2B5EF4-FFF2-40B4-BE49-F238E27FC236}">
                  <a16:creationId xmlns:a16="http://schemas.microsoft.com/office/drawing/2014/main" id="{EAB88FD0-5CD7-69C1-7F56-4DC796185D39}"/>
                </a:ext>
              </a:extLst>
            </p:cNvPr>
            <p:cNvSpPr/>
            <p:nvPr/>
          </p:nvSpPr>
          <p:spPr>
            <a:xfrm>
              <a:off x="5779911" y="2393244"/>
              <a:ext cx="824089" cy="519289"/>
            </a:xfrm>
            <a:prstGeom prst="ellipse">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noFill/>
              </a:endParaRPr>
            </a:p>
          </p:txBody>
        </p:sp>
        <p:sp>
          <p:nvSpPr>
            <p:cNvPr id="7" name="Ovaal 6">
              <a:extLst>
                <a:ext uri="{FF2B5EF4-FFF2-40B4-BE49-F238E27FC236}">
                  <a16:creationId xmlns:a16="http://schemas.microsoft.com/office/drawing/2014/main" id="{BB8A90B3-7BA7-D2C9-2FCA-A553F88E6BF3}"/>
                </a:ext>
              </a:extLst>
            </p:cNvPr>
            <p:cNvSpPr/>
            <p:nvPr/>
          </p:nvSpPr>
          <p:spPr>
            <a:xfrm>
              <a:off x="1139666" y="2523067"/>
              <a:ext cx="1959134" cy="1032933"/>
            </a:xfrm>
            <a:prstGeom prst="ellipse">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noFill/>
              </a:endParaRPr>
            </a:p>
          </p:txBody>
        </p:sp>
        <p:sp>
          <p:nvSpPr>
            <p:cNvPr id="11" name="Bijschrift: lijn 10">
              <a:extLst>
                <a:ext uri="{FF2B5EF4-FFF2-40B4-BE49-F238E27FC236}">
                  <a16:creationId xmlns:a16="http://schemas.microsoft.com/office/drawing/2014/main" id="{DFCE0282-97DF-98D3-BF7E-0A4118369EB2}"/>
                </a:ext>
              </a:extLst>
            </p:cNvPr>
            <p:cNvSpPr/>
            <p:nvPr/>
          </p:nvSpPr>
          <p:spPr>
            <a:xfrm>
              <a:off x="6604000" y="1125460"/>
              <a:ext cx="2917371" cy="525821"/>
            </a:xfrm>
            <a:prstGeom prst="borderCallout1">
              <a:avLst>
                <a:gd name="adj1" fmla="val 52083"/>
                <a:gd name="adj2" fmla="val 249"/>
                <a:gd name="adj3" fmla="val 467749"/>
                <a:gd name="adj4" fmla="val -76393"/>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BE" b="1" dirty="0">
                  <a:solidFill>
                    <a:schemeClr val="accent1">
                      <a:lumMod val="75000"/>
                    </a:schemeClr>
                  </a:solidFill>
                </a:rPr>
                <a:t>Werkbalk snelle toegang</a:t>
              </a:r>
            </a:p>
          </p:txBody>
        </p:sp>
      </p:grpSp>
      <p:grpSp>
        <p:nvGrpSpPr>
          <p:cNvPr id="17" name="Groep 16">
            <a:extLst>
              <a:ext uri="{FF2B5EF4-FFF2-40B4-BE49-F238E27FC236}">
                <a16:creationId xmlns:a16="http://schemas.microsoft.com/office/drawing/2014/main" id="{0E45F065-DB34-885F-4706-B4DC8F85E84E}"/>
              </a:ext>
            </a:extLst>
          </p:cNvPr>
          <p:cNvGrpSpPr/>
          <p:nvPr/>
        </p:nvGrpSpPr>
        <p:grpSpPr>
          <a:xfrm>
            <a:off x="8583879" y="2472191"/>
            <a:ext cx="2801880" cy="3369719"/>
            <a:chOff x="8442365" y="2230262"/>
            <a:chExt cx="3002540" cy="3611046"/>
          </a:xfrm>
        </p:grpSpPr>
        <p:pic>
          <p:nvPicPr>
            <p:cNvPr id="8" name="Picture 7">
              <a:extLst>
                <a:ext uri="{FF2B5EF4-FFF2-40B4-BE49-F238E27FC236}">
                  <a16:creationId xmlns:a16="http://schemas.microsoft.com/office/drawing/2014/main" id="{73C7E765-6916-28F4-1884-9A8D26FFE91D}"/>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a:ext>
              </a:extLst>
            </a:blip>
            <a:srcRect/>
            <a:stretch/>
          </p:blipFill>
          <p:spPr>
            <a:xfrm rot="655737">
              <a:off x="8442365" y="2230262"/>
              <a:ext cx="3002540" cy="361104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Ovaal 11">
              <a:extLst>
                <a:ext uri="{FF2B5EF4-FFF2-40B4-BE49-F238E27FC236}">
                  <a16:creationId xmlns:a16="http://schemas.microsoft.com/office/drawing/2014/main" id="{0FE0EA8C-3AA7-26A6-8EE9-A5B7CA309468}"/>
                </a:ext>
              </a:extLst>
            </p:cNvPr>
            <p:cNvSpPr/>
            <p:nvPr/>
          </p:nvSpPr>
          <p:spPr>
            <a:xfrm>
              <a:off x="10287000" y="2490137"/>
              <a:ext cx="620486" cy="525206"/>
            </a:xfrm>
            <a:prstGeom prst="ellipse">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noFill/>
              </a:endParaRPr>
            </a:p>
          </p:txBody>
        </p:sp>
        <p:sp>
          <p:nvSpPr>
            <p:cNvPr id="13" name="Ovaal 12">
              <a:extLst>
                <a:ext uri="{FF2B5EF4-FFF2-40B4-BE49-F238E27FC236}">
                  <a16:creationId xmlns:a16="http://schemas.microsoft.com/office/drawing/2014/main" id="{41470310-D2EE-87D0-D480-5EA338255827}"/>
                </a:ext>
              </a:extLst>
            </p:cNvPr>
            <p:cNvSpPr/>
            <p:nvPr/>
          </p:nvSpPr>
          <p:spPr>
            <a:xfrm>
              <a:off x="9818915" y="3039533"/>
              <a:ext cx="620486" cy="525206"/>
            </a:xfrm>
            <a:prstGeom prst="ellipse">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noFill/>
              </a:endParaRPr>
            </a:p>
          </p:txBody>
        </p:sp>
        <p:sp>
          <p:nvSpPr>
            <p:cNvPr id="16" name="Ovaal 15">
              <a:extLst>
                <a:ext uri="{FF2B5EF4-FFF2-40B4-BE49-F238E27FC236}">
                  <a16:creationId xmlns:a16="http://schemas.microsoft.com/office/drawing/2014/main" id="{D7C0482D-74BD-ED63-4A05-8609C1C77604}"/>
                </a:ext>
              </a:extLst>
            </p:cNvPr>
            <p:cNvSpPr/>
            <p:nvPr/>
          </p:nvSpPr>
          <p:spPr>
            <a:xfrm>
              <a:off x="9943635" y="3933103"/>
              <a:ext cx="620486" cy="525206"/>
            </a:xfrm>
            <a:prstGeom prst="ellipse">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noFill/>
              </a:endParaRPr>
            </a:p>
          </p:txBody>
        </p:sp>
      </p:grpSp>
    </p:spTree>
    <p:extLst>
      <p:ext uri="{BB962C8B-B14F-4D97-AF65-F5344CB8AC3E}">
        <p14:creationId xmlns:p14="http://schemas.microsoft.com/office/powerpoint/2010/main" val="3362981302"/>
      </p:ext>
    </p:extLst>
  </p:cSld>
  <p:clrMapOvr>
    <a:masterClrMapping/>
  </p:clrMapOvr>
  <p:transition spd="slow">
    <p:push dir="r"/>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240087-A7B7-6EFB-C41A-6BE2335586ED}"/>
              </a:ext>
            </a:extLst>
          </p:cNvPr>
          <p:cNvSpPr>
            <a:spLocks noGrp="1"/>
          </p:cNvSpPr>
          <p:nvPr>
            <p:ph type="title"/>
          </p:nvPr>
        </p:nvSpPr>
        <p:spPr>
          <a:xfrm>
            <a:off x="1097280" y="286604"/>
            <a:ext cx="10058400" cy="900000"/>
          </a:xfrm>
        </p:spPr>
        <p:txBody>
          <a:bodyPr/>
          <a:lstStyle/>
          <a:p>
            <a:r>
              <a:rPr lang="en-GB" dirty="0"/>
              <a:t>2 layers</a:t>
            </a:r>
          </a:p>
        </p:txBody>
      </p:sp>
      <p:sp>
        <p:nvSpPr>
          <p:cNvPr id="5" name="Content Placeholder 4">
            <a:extLst>
              <a:ext uri="{FF2B5EF4-FFF2-40B4-BE49-F238E27FC236}">
                <a16:creationId xmlns:a16="http://schemas.microsoft.com/office/drawing/2014/main" id="{46F5F09D-95A8-FC19-F5D2-1DA9167F0EED}"/>
              </a:ext>
            </a:extLst>
          </p:cNvPr>
          <p:cNvSpPr>
            <a:spLocks noGrp="1"/>
          </p:cNvSpPr>
          <p:nvPr>
            <p:ph idx="1"/>
          </p:nvPr>
        </p:nvSpPr>
        <p:spPr>
          <a:xfrm>
            <a:off x="1097280" y="1453495"/>
            <a:ext cx="10058400" cy="4415599"/>
          </a:xfrm>
        </p:spPr>
        <p:txBody>
          <a:bodyPr/>
          <a:lstStyle/>
          <a:p>
            <a:r>
              <a:rPr lang="en-GB" dirty="0"/>
              <a:t>Content layer</a:t>
            </a:r>
          </a:p>
          <a:p>
            <a:r>
              <a:rPr lang="en-GB" dirty="0"/>
              <a:t>Master layer</a:t>
            </a:r>
          </a:p>
          <a:p>
            <a:pPr lvl="1"/>
            <a:r>
              <a:rPr lang="en-GB" dirty="0"/>
              <a:t>Layouts &amp; placeholders</a:t>
            </a:r>
          </a:p>
          <a:p>
            <a:pPr lvl="1"/>
            <a:r>
              <a:rPr lang="en-GB" dirty="0"/>
              <a:t>Theme &amp; design elements</a:t>
            </a:r>
          </a:p>
          <a:p>
            <a:r>
              <a:rPr lang="en-GB" dirty="0"/>
              <a:t>The reset principle</a:t>
            </a:r>
          </a:p>
        </p:txBody>
      </p:sp>
    </p:spTree>
    <p:extLst>
      <p:ext uri="{BB962C8B-B14F-4D97-AF65-F5344CB8AC3E}">
        <p14:creationId xmlns:p14="http://schemas.microsoft.com/office/powerpoint/2010/main" val="26813029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240087-A7B7-6EFB-C41A-6BE2335586ED}"/>
              </a:ext>
            </a:extLst>
          </p:cNvPr>
          <p:cNvSpPr>
            <a:spLocks noGrp="1"/>
          </p:cNvSpPr>
          <p:nvPr>
            <p:ph type="title"/>
          </p:nvPr>
        </p:nvSpPr>
        <p:spPr/>
        <p:txBody>
          <a:bodyPr/>
          <a:lstStyle/>
          <a:p>
            <a:r>
              <a:rPr lang="en-GB" dirty="0"/>
              <a:t>2 layers and layouts</a:t>
            </a:r>
          </a:p>
        </p:txBody>
      </p:sp>
      <p:graphicFrame>
        <p:nvGraphicFramePr>
          <p:cNvPr id="2" name="Tijdelijke aanduiding voor inhoud 1">
            <a:extLst>
              <a:ext uri="{FF2B5EF4-FFF2-40B4-BE49-F238E27FC236}">
                <a16:creationId xmlns:a16="http://schemas.microsoft.com/office/drawing/2014/main" id="{E5114EDD-1F3C-B6F7-9370-BD58ED6499E8}"/>
              </a:ext>
            </a:extLst>
          </p:cNvPr>
          <p:cNvGraphicFramePr>
            <a:graphicFrameLocks noGrp="1"/>
          </p:cNvGraphicFramePr>
          <p:nvPr>
            <p:ph idx="1"/>
            <p:extLst>
              <p:ext uri="{D42A27DB-BD31-4B8C-83A1-F6EECF244321}">
                <p14:modId xmlns:p14="http://schemas.microsoft.com/office/powerpoint/2010/main" val="2253572203"/>
              </p:ext>
            </p:extLst>
          </p:nvPr>
        </p:nvGraphicFramePr>
        <p:xfrm>
          <a:off x="4153050" y="637808"/>
          <a:ext cx="8950679" cy="55823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09ADD6EE-7D71-915E-B39E-77E2BEA06287}"/>
              </a:ext>
            </a:extLst>
          </p:cNvPr>
          <p:cNvGraphicFramePr/>
          <p:nvPr>
            <p:extLst>
              <p:ext uri="{D42A27DB-BD31-4B8C-83A1-F6EECF244321}">
                <p14:modId xmlns:p14="http://schemas.microsoft.com/office/powerpoint/2010/main" val="2236243142"/>
              </p:ext>
            </p:extLst>
          </p:nvPr>
        </p:nvGraphicFramePr>
        <p:xfrm>
          <a:off x="766118" y="1655804"/>
          <a:ext cx="5474043" cy="388002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48254911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2">
                                            <p:graphicEl>
                                              <a:dgm id="{32E5AAC0-CECA-4735-8D23-D5326EF660EE}"/>
                                            </p:graphicEl>
                                          </p:spTgt>
                                        </p:tgtEl>
                                        <p:attrNameLst>
                                          <p:attrName>style.visibility</p:attrName>
                                        </p:attrNameLst>
                                      </p:cBhvr>
                                      <p:to>
                                        <p:strVal val="visible"/>
                                      </p:to>
                                    </p:set>
                                    <p:anim calcmode="lin" valueType="num">
                                      <p:cBhvr>
                                        <p:cTn id="7" dur="1000" fill="hold"/>
                                        <p:tgtEl>
                                          <p:spTgt spid="2">
                                            <p:graphicEl>
                                              <a:dgm id="{32E5AAC0-CECA-4735-8D23-D5326EF660EE}"/>
                                            </p:graphicEl>
                                          </p:spTgt>
                                        </p:tgtEl>
                                        <p:attrNameLst>
                                          <p:attrName>ppt_w</p:attrName>
                                        </p:attrNameLst>
                                      </p:cBhvr>
                                      <p:tavLst>
                                        <p:tav tm="0">
                                          <p:val>
                                            <p:fltVal val="0"/>
                                          </p:val>
                                        </p:tav>
                                        <p:tav tm="100000">
                                          <p:val>
                                            <p:strVal val="#ppt_w"/>
                                          </p:val>
                                        </p:tav>
                                      </p:tavLst>
                                    </p:anim>
                                    <p:anim calcmode="lin" valueType="num">
                                      <p:cBhvr>
                                        <p:cTn id="8" dur="1000" fill="hold"/>
                                        <p:tgtEl>
                                          <p:spTgt spid="2">
                                            <p:graphicEl>
                                              <a:dgm id="{32E5AAC0-CECA-4735-8D23-D5326EF660EE}"/>
                                            </p:graphicEl>
                                          </p:spTgt>
                                        </p:tgtEl>
                                        <p:attrNameLst>
                                          <p:attrName>ppt_h</p:attrName>
                                        </p:attrNameLst>
                                      </p:cBhvr>
                                      <p:tavLst>
                                        <p:tav tm="0">
                                          <p:val>
                                            <p:fltVal val="0"/>
                                          </p:val>
                                        </p:tav>
                                        <p:tav tm="100000">
                                          <p:val>
                                            <p:strVal val="#ppt_h"/>
                                          </p:val>
                                        </p:tav>
                                      </p:tavLst>
                                    </p:anim>
                                    <p:anim calcmode="lin" valueType="num">
                                      <p:cBhvr>
                                        <p:cTn id="9" dur="1000" fill="hold"/>
                                        <p:tgtEl>
                                          <p:spTgt spid="2">
                                            <p:graphicEl>
                                              <a:dgm id="{32E5AAC0-CECA-4735-8D23-D5326EF660EE}"/>
                                            </p:graphicEl>
                                          </p:spTgt>
                                        </p:tgtEl>
                                        <p:attrNameLst>
                                          <p:attrName>style.rotation</p:attrName>
                                        </p:attrNameLst>
                                      </p:cBhvr>
                                      <p:tavLst>
                                        <p:tav tm="0">
                                          <p:val>
                                            <p:fltVal val="90"/>
                                          </p:val>
                                        </p:tav>
                                        <p:tav tm="100000">
                                          <p:val>
                                            <p:fltVal val="0"/>
                                          </p:val>
                                        </p:tav>
                                      </p:tavLst>
                                    </p:anim>
                                    <p:animEffect transition="in" filter="fade">
                                      <p:cBhvr>
                                        <p:cTn id="10" dur="1000"/>
                                        <p:tgtEl>
                                          <p:spTgt spid="2">
                                            <p:graphicEl>
                                              <a:dgm id="{32E5AAC0-CECA-4735-8D23-D5326EF660EE}"/>
                                            </p:graphic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2">
                                            <p:graphicEl>
                                              <a:dgm id="{A3C4F229-080B-4778-8A57-402FA7243795}"/>
                                            </p:graphicEl>
                                          </p:spTgt>
                                        </p:tgtEl>
                                        <p:attrNameLst>
                                          <p:attrName>style.visibility</p:attrName>
                                        </p:attrNameLst>
                                      </p:cBhvr>
                                      <p:to>
                                        <p:strVal val="visible"/>
                                      </p:to>
                                    </p:set>
                                    <p:anim calcmode="lin" valueType="num">
                                      <p:cBhvr>
                                        <p:cTn id="13" dur="1000" fill="hold"/>
                                        <p:tgtEl>
                                          <p:spTgt spid="2">
                                            <p:graphicEl>
                                              <a:dgm id="{A3C4F229-080B-4778-8A57-402FA7243795}"/>
                                            </p:graphicEl>
                                          </p:spTgt>
                                        </p:tgtEl>
                                        <p:attrNameLst>
                                          <p:attrName>ppt_w</p:attrName>
                                        </p:attrNameLst>
                                      </p:cBhvr>
                                      <p:tavLst>
                                        <p:tav tm="0">
                                          <p:val>
                                            <p:fltVal val="0"/>
                                          </p:val>
                                        </p:tav>
                                        <p:tav tm="100000">
                                          <p:val>
                                            <p:strVal val="#ppt_w"/>
                                          </p:val>
                                        </p:tav>
                                      </p:tavLst>
                                    </p:anim>
                                    <p:anim calcmode="lin" valueType="num">
                                      <p:cBhvr>
                                        <p:cTn id="14" dur="1000" fill="hold"/>
                                        <p:tgtEl>
                                          <p:spTgt spid="2">
                                            <p:graphicEl>
                                              <a:dgm id="{A3C4F229-080B-4778-8A57-402FA7243795}"/>
                                            </p:graphicEl>
                                          </p:spTgt>
                                        </p:tgtEl>
                                        <p:attrNameLst>
                                          <p:attrName>ppt_h</p:attrName>
                                        </p:attrNameLst>
                                      </p:cBhvr>
                                      <p:tavLst>
                                        <p:tav tm="0">
                                          <p:val>
                                            <p:fltVal val="0"/>
                                          </p:val>
                                        </p:tav>
                                        <p:tav tm="100000">
                                          <p:val>
                                            <p:strVal val="#ppt_h"/>
                                          </p:val>
                                        </p:tav>
                                      </p:tavLst>
                                    </p:anim>
                                    <p:anim calcmode="lin" valueType="num">
                                      <p:cBhvr>
                                        <p:cTn id="15" dur="1000" fill="hold"/>
                                        <p:tgtEl>
                                          <p:spTgt spid="2">
                                            <p:graphicEl>
                                              <a:dgm id="{A3C4F229-080B-4778-8A57-402FA7243795}"/>
                                            </p:graphicEl>
                                          </p:spTgt>
                                        </p:tgtEl>
                                        <p:attrNameLst>
                                          <p:attrName>style.rotation</p:attrName>
                                        </p:attrNameLst>
                                      </p:cBhvr>
                                      <p:tavLst>
                                        <p:tav tm="0">
                                          <p:val>
                                            <p:fltVal val="90"/>
                                          </p:val>
                                        </p:tav>
                                        <p:tav tm="100000">
                                          <p:val>
                                            <p:fltVal val="0"/>
                                          </p:val>
                                        </p:tav>
                                      </p:tavLst>
                                    </p:anim>
                                    <p:animEffect transition="in" filter="fade">
                                      <p:cBhvr>
                                        <p:cTn id="16" dur="1000"/>
                                        <p:tgtEl>
                                          <p:spTgt spid="2">
                                            <p:graphicEl>
                                              <a:dgm id="{A3C4F229-080B-4778-8A57-402FA7243795}"/>
                                            </p:graphic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2">
                                            <p:graphicEl>
                                              <a:dgm id="{F1DDC629-186F-4452-A961-79B9B9FFAC9A}"/>
                                            </p:graphicEl>
                                          </p:spTgt>
                                        </p:tgtEl>
                                        <p:attrNameLst>
                                          <p:attrName>style.visibility</p:attrName>
                                        </p:attrNameLst>
                                      </p:cBhvr>
                                      <p:to>
                                        <p:strVal val="visible"/>
                                      </p:to>
                                    </p:set>
                                    <p:anim calcmode="lin" valueType="num">
                                      <p:cBhvr>
                                        <p:cTn id="19" dur="1000" fill="hold"/>
                                        <p:tgtEl>
                                          <p:spTgt spid="2">
                                            <p:graphicEl>
                                              <a:dgm id="{F1DDC629-186F-4452-A961-79B9B9FFAC9A}"/>
                                            </p:graphicEl>
                                          </p:spTgt>
                                        </p:tgtEl>
                                        <p:attrNameLst>
                                          <p:attrName>ppt_w</p:attrName>
                                        </p:attrNameLst>
                                      </p:cBhvr>
                                      <p:tavLst>
                                        <p:tav tm="0">
                                          <p:val>
                                            <p:fltVal val="0"/>
                                          </p:val>
                                        </p:tav>
                                        <p:tav tm="100000">
                                          <p:val>
                                            <p:strVal val="#ppt_w"/>
                                          </p:val>
                                        </p:tav>
                                      </p:tavLst>
                                    </p:anim>
                                    <p:anim calcmode="lin" valueType="num">
                                      <p:cBhvr>
                                        <p:cTn id="20" dur="1000" fill="hold"/>
                                        <p:tgtEl>
                                          <p:spTgt spid="2">
                                            <p:graphicEl>
                                              <a:dgm id="{F1DDC629-186F-4452-A961-79B9B9FFAC9A}"/>
                                            </p:graphicEl>
                                          </p:spTgt>
                                        </p:tgtEl>
                                        <p:attrNameLst>
                                          <p:attrName>ppt_h</p:attrName>
                                        </p:attrNameLst>
                                      </p:cBhvr>
                                      <p:tavLst>
                                        <p:tav tm="0">
                                          <p:val>
                                            <p:fltVal val="0"/>
                                          </p:val>
                                        </p:tav>
                                        <p:tav tm="100000">
                                          <p:val>
                                            <p:strVal val="#ppt_h"/>
                                          </p:val>
                                        </p:tav>
                                      </p:tavLst>
                                    </p:anim>
                                    <p:anim calcmode="lin" valueType="num">
                                      <p:cBhvr>
                                        <p:cTn id="21" dur="1000" fill="hold"/>
                                        <p:tgtEl>
                                          <p:spTgt spid="2">
                                            <p:graphicEl>
                                              <a:dgm id="{F1DDC629-186F-4452-A961-79B9B9FFAC9A}"/>
                                            </p:graphicEl>
                                          </p:spTgt>
                                        </p:tgtEl>
                                        <p:attrNameLst>
                                          <p:attrName>style.rotation</p:attrName>
                                        </p:attrNameLst>
                                      </p:cBhvr>
                                      <p:tavLst>
                                        <p:tav tm="0">
                                          <p:val>
                                            <p:fltVal val="90"/>
                                          </p:val>
                                        </p:tav>
                                        <p:tav tm="100000">
                                          <p:val>
                                            <p:fltVal val="0"/>
                                          </p:val>
                                        </p:tav>
                                      </p:tavLst>
                                    </p:anim>
                                    <p:animEffect transition="in" filter="fade">
                                      <p:cBhvr>
                                        <p:cTn id="22" dur="1000"/>
                                        <p:tgtEl>
                                          <p:spTgt spid="2">
                                            <p:graphicEl>
                                              <a:dgm id="{F1DDC629-186F-4452-A961-79B9B9FFAC9A}"/>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31" presetClass="entr" presetSubtype="0" fill="hold" grpId="0" nodeType="clickEffect">
                                  <p:stCondLst>
                                    <p:cond delay="0"/>
                                  </p:stCondLst>
                                  <p:childTnLst>
                                    <p:set>
                                      <p:cBhvr>
                                        <p:cTn id="26" dur="1" fill="hold">
                                          <p:stCondLst>
                                            <p:cond delay="0"/>
                                          </p:stCondLst>
                                        </p:cTn>
                                        <p:tgtEl>
                                          <p:spTgt spid="2">
                                            <p:graphicEl>
                                              <a:dgm id="{C9F5E058-79C9-43E7-8C69-1A2F78EDFDB9}"/>
                                            </p:graphicEl>
                                          </p:spTgt>
                                        </p:tgtEl>
                                        <p:attrNameLst>
                                          <p:attrName>style.visibility</p:attrName>
                                        </p:attrNameLst>
                                      </p:cBhvr>
                                      <p:to>
                                        <p:strVal val="visible"/>
                                      </p:to>
                                    </p:set>
                                    <p:anim calcmode="lin" valueType="num">
                                      <p:cBhvr>
                                        <p:cTn id="27" dur="1000" fill="hold"/>
                                        <p:tgtEl>
                                          <p:spTgt spid="2">
                                            <p:graphicEl>
                                              <a:dgm id="{C9F5E058-79C9-43E7-8C69-1A2F78EDFDB9}"/>
                                            </p:graphicEl>
                                          </p:spTgt>
                                        </p:tgtEl>
                                        <p:attrNameLst>
                                          <p:attrName>ppt_w</p:attrName>
                                        </p:attrNameLst>
                                      </p:cBhvr>
                                      <p:tavLst>
                                        <p:tav tm="0">
                                          <p:val>
                                            <p:fltVal val="0"/>
                                          </p:val>
                                        </p:tav>
                                        <p:tav tm="100000">
                                          <p:val>
                                            <p:strVal val="#ppt_w"/>
                                          </p:val>
                                        </p:tav>
                                      </p:tavLst>
                                    </p:anim>
                                    <p:anim calcmode="lin" valueType="num">
                                      <p:cBhvr>
                                        <p:cTn id="28" dur="1000" fill="hold"/>
                                        <p:tgtEl>
                                          <p:spTgt spid="2">
                                            <p:graphicEl>
                                              <a:dgm id="{C9F5E058-79C9-43E7-8C69-1A2F78EDFDB9}"/>
                                            </p:graphicEl>
                                          </p:spTgt>
                                        </p:tgtEl>
                                        <p:attrNameLst>
                                          <p:attrName>ppt_h</p:attrName>
                                        </p:attrNameLst>
                                      </p:cBhvr>
                                      <p:tavLst>
                                        <p:tav tm="0">
                                          <p:val>
                                            <p:fltVal val="0"/>
                                          </p:val>
                                        </p:tav>
                                        <p:tav tm="100000">
                                          <p:val>
                                            <p:strVal val="#ppt_h"/>
                                          </p:val>
                                        </p:tav>
                                      </p:tavLst>
                                    </p:anim>
                                    <p:anim calcmode="lin" valueType="num">
                                      <p:cBhvr>
                                        <p:cTn id="29" dur="1000" fill="hold"/>
                                        <p:tgtEl>
                                          <p:spTgt spid="2">
                                            <p:graphicEl>
                                              <a:dgm id="{C9F5E058-79C9-43E7-8C69-1A2F78EDFDB9}"/>
                                            </p:graphicEl>
                                          </p:spTgt>
                                        </p:tgtEl>
                                        <p:attrNameLst>
                                          <p:attrName>style.rotation</p:attrName>
                                        </p:attrNameLst>
                                      </p:cBhvr>
                                      <p:tavLst>
                                        <p:tav tm="0">
                                          <p:val>
                                            <p:fltVal val="90"/>
                                          </p:val>
                                        </p:tav>
                                        <p:tav tm="100000">
                                          <p:val>
                                            <p:fltVal val="0"/>
                                          </p:val>
                                        </p:tav>
                                      </p:tavLst>
                                    </p:anim>
                                    <p:animEffect transition="in" filter="fade">
                                      <p:cBhvr>
                                        <p:cTn id="30" dur="1000"/>
                                        <p:tgtEl>
                                          <p:spTgt spid="2">
                                            <p:graphicEl>
                                              <a:dgm id="{C9F5E058-79C9-43E7-8C69-1A2F78EDFDB9}"/>
                                            </p:graphicEl>
                                          </p:spTgt>
                                        </p:tgtEl>
                                      </p:cBhvr>
                                    </p:animEffect>
                                  </p:childTnLst>
                                </p:cTn>
                              </p:par>
                            </p:childTnLst>
                          </p:cTn>
                        </p:par>
                      </p:childTnLst>
                    </p:cTn>
                  </p:par>
                  <p:par>
                    <p:cTn id="31" fill="hold">
                      <p:stCondLst>
                        <p:cond delay="indefinite"/>
                      </p:stCondLst>
                      <p:childTnLst>
                        <p:par>
                          <p:cTn id="32" fill="hold">
                            <p:stCondLst>
                              <p:cond delay="0"/>
                            </p:stCondLst>
                            <p:childTnLst>
                              <p:par>
                                <p:cTn id="33" presetID="31" presetClass="entr" presetSubtype="0" fill="hold" grpId="0" nodeType="clickEffect">
                                  <p:stCondLst>
                                    <p:cond delay="0"/>
                                  </p:stCondLst>
                                  <p:childTnLst>
                                    <p:set>
                                      <p:cBhvr>
                                        <p:cTn id="34" dur="1" fill="hold">
                                          <p:stCondLst>
                                            <p:cond delay="0"/>
                                          </p:stCondLst>
                                        </p:cTn>
                                        <p:tgtEl>
                                          <p:spTgt spid="2">
                                            <p:graphicEl>
                                              <a:dgm id="{C603E053-C3A5-4406-B486-F3180B500641}"/>
                                            </p:graphicEl>
                                          </p:spTgt>
                                        </p:tgtEl>
                                        <p:attrNameLst>
                                          <p:attrName>style.visibility</p:attrName>
                                        </p:attrNameLst>
                                      </p:cBhvr>
                                      <p:to>
                                        <p:strVal val="visible"/>
                                      </p:to>
                                    </p:set>
                                    <p:anim calcmode="lin" valueType="num">
                                      <p:cBhvr>
                                        <p:cTn id="35" dur="1000" fill="hold"/>
                                        <p:tgtEl>
                                          <p:spTgt spid="2">
                                            <p:graphicEl>
                                              <a:dgm id="{C603E053-C3A5-4406-B486-F3180B500641}"/>
                                            </p:graphicEl>
                                          </p:spTgt>
                                        </p:tgtEl>
                                        <p:attrNameLst>
                                          <p:attrName>ppt_w</p:attrName>
                                        </p:attrNameLst>
                                      </p:cBhvr>
                                      <p:tavLst>
                                        <p:tav tm="0">
                                          <p:val>
                                            <p:fltVal val="0"/>
                                          </p:val>
                                        </p:tav>
                                        <p:tav tm="100000">
                                          <p:val>
                                            <p:strVal val="#ppt_w"/>
                                          </p:val>
                                        </p:tav>
                                      </p:tavLst>
                                    </p:anim>
                                    <p:anim calcmode="lin" valueType="num">
                                      <p:cBhvr>
                                        <p:cTn id="36" dur="1000" fill="hold"/>
                                        <p:tgtEl>
                                          <p:spTgt spid="2">
                                            <p:graphicEl>
                                              <a:dgm id="{C603E053-C3A5-4406-B486-F3180B500641}"/>
                                            </p:graphicEl>
                                          </p:spTgt>
                                        </p:tgtEl>
                                        <p:attrNameLst>
                                          <p:attrName>ppt_h</p:attrName>
                                        </p:attrNameLst>
                                      </p:cBhvr>
                                      <p:tavLst>
                                        <p:tav tm="0">
                                          <p:val>
                                            <p:fltVal val="0"/>
                                          </p:val>
                                        </p:tav>
                                        <p:tav tm="100000">
                                          <p:val>
                                            <p:strVal val="#ppt_h"/>
                                          </p:val>
                                        </p:tav>
                                      </p:tavLst>
                                    </p:anim>
                                    <p:anim calcmode="lin" valueType="num">
                                      <p:cBhvr>
                                        <p:cTn id="37" dur="1000" fill="hold"/>
                                        <p:tgtEl>
                                          <p:spTgt spid="2">
                                            <p:graphicEl>
                                              <a:dgm id="{C603E053-C3A5-4406-B486-F3180B500641}"/>
                                            </p:graphicEl>
                                          </p:spTgt>
                                        </p:tgtEl>
                                        <p:attrNameLst>
                                          <p:attrName>style.rotation</p:attrName>
                                        </p:attrNameLst>
                                      </p:cBhvr>
                                      <p:tavLst>
                                        <p:tav tm="0">
                                          <p:val>
                                            <p:fltVal val="90"/>
                                          </p:val>
                                        </p:tav>
                                        <p:tav tm="100000">
                                          <p:val>
                                            <p:fltVal val="0"/>
                                          </p:val>
                                        </p:tav>
                                      </p:tavLst>
                                    </p:anim>
                                    <p:animEffect transition="in" filter="fade">
                                      <p:cBhvr>
                                        <p:cTn id="38" dur="1000"/>
                                        <p:tgtEl>
                                          <p:spTgt spid="2">
                                            <p:graphicEl>
                                              <a:dgm id="{C603E053-C3A5-4406-B486-F3180B500641}"/>
                                            </p:graphicEl>
                                          </p:spTgt>
                                        </p:tgtEl>
                                      </p:cBhvr>
                                    </p:animEffect>
                                  </p:childTnLst>
                                </p:cTn>
                              </p:par>
                            </p:childTnLst>
                          </p:cTn>
                        </p:par>
                      </p:childTnLst>
                    </p:cTn>
                  </p:par>
                  <p:par>
                    <p:cTn id="39" fill="hold">
                      <p:stCondLst>
                        <p:cond delay="indefinite"/>
                      </p:stCondLst>
                      <p:childTnLst>
                        <p:par>
                          <p:cTn id="40" fill="hold">
                            <p:stCondLst>
                              <p:cond delay="0"/>
                            </p:stCondLst>
                            <p:childTnLst>
                              <p:par>
                                <p:cTn id="41" presetID="31" presetClass="entr" presetSubtype="0" fill="hold" grpId="0" nodeType="clickEffect">
                                  <p:stCondLst>
                                    <p:cond delay="0"/>
                                  </p:stCondLst>
                                  <p:childTnLst>
                                    <p:set>
                                      <p:cBhvr>
                                        <p:cTn id="42" dur="1" fill="hold">
                                          <p:stCondLst>
                                            <p:cond delay="0"/>
                                          </p:stCondLst>
                                        </p:cTn>
                                        <p:tgtEl>
                                          <p:spTgt spid="2">
                                            <p:graphicEl>
                                              <a:dgm id="{5B8E9865-70F4-44FC-8353-C560E4784ADD}"/>
                                            </p:graphicEl>
                                          </p:spTgt>
                                        </p:tgtEl>
                                        <p:attrNameLst>
                                          <p:attrName>style.visibility</p:attrName>
                                        </p:attrNameLst>
                                      </p:cBhvr>
                                      <p:to>
                                        <p:strVal val="visible"/>
                                      </p:to>
                                    </p:set>
                                    <p:anim calcmode="lin" valueType="num">
                                      <p:cBhvr>
                                        <p:cTn id="43" dur="1000" fill="hold"/>
                                        <p:tgtEl>
                                          <p:spTgt spid="2">
                                            <p:graphicEl>
                                              <a:dgm id="{5B8E9865-70F4-44FC-8353-C560E4784ADD}"/>
                                            </p:graphicEl>
                                          </p:spTgt>
                                        </p:tgtEl>
                                        <p:attrNameLst>
                                          <p:attrName>ppt_w</p:attrName>
                                        </p:attrNameLst>
                                      </p:cBhvr>
                                      <p:tavLst>
                                        <p:tav tm="0">
                                          <p:val>
                                            <p:fltVal val="0"/>
                                          </p:val>
                                        </p:tav>
                                        <p:tav tm="100000">
                                          <p:val>
                                            <p:strVal val="#ppt_w"/>
                                          </p:val>
                                        </p:tav>
                                      </p:tavLst>
                                    </p:anim>
                                    <p:anim calcmode="lin" valueType="num">
                                      <p:cBhvr>
                                        <p:cTn id="44" dur="1000" fill="hold"/>
                                        <p:tgtEl>
                                          <p:spTgt spid="2">
                                            <p:graphicEl>
                                              <a:dgm id="{5B8E9865-70F4-44FC-8353-C560E4784ADD}"/>
                                            </p:graphicEl>
                                          </p:spTgt>
                                        </p:tgtEl>
                                        <p:attrNameLst>
                                          <p:attrName>ppt_h</p:attrName>
                                        </p:attrNameLst>
                                      </p:cBhvr>
                                      <p:tavLst>
                                        <p:tav tm="0">
                                          <p:val>
                                            <p:fltVal val="0"/>
                                          </p:val>
                                        </p:tav>
                                        <p:tav tm="100000">
                                          <p:val>
                                            <p:strVal val="#ppt_h"/>
                                          </p:val>
                                        </p:tav>
                                      </p:tavLst>
                                    </p:anim>
                                    <p:anim calcmode="lin" valueType="num">
                                      <p:cBhvr>
                                        <p:cTn id="45" dur="1000" fill="hold"/>
                                        <p:tgtEl>
                                          <p:spTgt spid="2">
                                            <p:graphicEl>
                                              <a:dgm id="{5B8E9865-70F4-44FC-8353-C560E4784ADD}"/>
                                            </p:graphicEl>
                                          </p:spTgt>
                                        </p:tgtEl>
                                        <p:attrNameLst>
                                          <p:attrName>style.rotation</p:attrName>
                                        </p:attrNameLst>
                                      </p:cBhvr>
                                      <p:tavLst>
                                        <p:tav tm="0">
                                          <p:val>
                                            <p:fltVal val="90"/>
                                          </p:val>
                                        </p:tav>
                                        <p:tav tm="100000">
                                          <p:val>
                                            <p:fltVal val="0"/>
                                          </p:val>
                                        </p:tav>
                                      </p:tavLst>
                                    </p:anim>
                                    <p:animEffect transition="in" filter="fade">
                                      <p:cBhvr>
                                        <p:cTn id="46" dur="1000"/>
                                        <p:tgtEl>
                                          <p:spTgt spid="2">
                                            <p:graphicEl>
                                              <a:dgm id="{5B8E9865-70F4-44FC-8353-C560E4784ADD}"/>
                                            </p:graphicEl>
                                          </p:spTgt>
                                        </p:tgtEl>
                                      </p:cBhvr>
                                    </p:animEffect>
                                  </p:childTnLst>
                                </p:cTn>
                              </p:par>
                            </p:childTnLst>
                          </p:cTn>
                        </p:par>
                      </p:childTnLst>
                    </p:cTn>
                  </p:par>
                  <p:par>
                    <p:cTn id="47" fill="hold">
                      <p:stCondLst>
                        <p:cond delay="indefinite"/>
                      </p:stCondLst>
                      <p:childTnLst>
                        <p:par>
                          <p:cTn id="48" fill="hold">
                            <p:stCondLst>
                              <p:cond delay="0"/>
                            </p:stCondLst>
                            <p:childTnLst>
                              <p:par>
                                <p:cTn id="49" presetID="31" presetClass="entr" presetSubtype="0" fill="hold" grpId="0" nodeType="clickEffect">
                                  <p:stCondLst>
                                    <p:cond delay="0"/>
                                  </p:stCondLst>
                                  <p:childTnLst>
                                    <p:set>
                                      <p:cBhvr>
                                        <p:cTn id="50" dur="1" fill="hold">
                                          <p:stCondLst>
                                            <p:cond delay="0"/>
                                          </p:stCondLst>
                                        </p:cTn>
                                        <p:tgtEl>
                                          <p:spTgt spid="2">
                                            <p:graphicEl>
                                              <a:dgm id="{A76F1970-A140-4F89-BBAB-7B985A3F6BBD}"/>
                                            </p:graphicEl>
                                          </p:spTgt>
                                        </p:tgtEl>
                                        <p:attrNameLst>
                                          <p:attrName>style.visibility</p:attrName>
                                        </p:attrNameLst>
                                      </p:cBhvr>
                                      <p:to>
                                        <p:strVal val="visible"/>
                                      </p:to>
                                    </p:set>
                                    <p:anim calcmode="lin" valueType="num">
                                      <p:cBhvr>
                                        <p:cTn id="51" dur="1000" fill="hold"/>
                                        <p:tgtEl>
                                          <p:spTgt spid="2">
                                            <p:graphicEl>
                                              <a:dgm id="{A76F1970-A140-4F89-BBAB-7B985A3F6BBD}"/>
                                            </p:graphicEl>
                                          </p:spTgt>
                                        </p:tgtEl>
                                        <p:attrNameLst>
                                          <p:attrName>ppt_w</p:attrName>
                                        </p:attrNameLst>
                                      </p:cBhvr>
                                      <p:tavLst>
                                        <p:tav tm="0">
                                          <p:val>
                                            <p:fltVal val="0"/>
                                          </p:val>
                                        </p:tav>
                                        <p:tav tm="100000">
                                          <p:val>
                                            <p:strVal val="#ppt_w"/>
                                          </p:val>
                                        </p:tav>
                                      </p:tavLst>
                                    </p:anim>
                                    <p:anim calcmode="lin" valueType="num">
                                      <p:cBhvr>
                                        <p:cTn id="52" dur="1000" fill="hold"/>
                                        <p:tgtEl>
                                          <p:spTgt spid="2">
                                            <p:graphicEl>
                                              <a:dgm id="{A76F1970-A140-4F89-BBAB-7B985A3F6BBD}"/>
                                            </p:graphicEl>
                                          </p:spTgt>
                                        </p:tgtEl>
                                        <p:attrNameLst>
                                          <p:attrName>ppt_h</p:attrName>
                                        </p:attrNameLst>
                                      </p:cBhvr>
                                      <p:tavLst>
                                        <p:tav tm="0">
                                          <p:val>
                                            <p:fltVal val="0"/>
                                          </p:val>
                                        </p:tav>
                                        <p:tav tm="100000">
                                          <p:val>
                                            <p:strVal val="#ppt_h"/>
                                          </p:val>
                                        </p:tav>
                                      </p:tavLst>
                                    </p:anim>
                                    <p:anim calcmode="lin" valueType="num">
                                      <p:cBhvr>
                                        <p:cTn id="53" dur="1000" fill="hold"/>
                                        <p:tgtEl>
                                          <p:spTgt spid="2">
                                            <p:graphicEl>
                                              <a:dgm id="{A76F1970-A140-4F89-BBAB-7B985A3F6BBD}"/>
                                            </p:graphicEl>
                                          </p:spTgt>
                                        </p:tgtEl>
                                        <p:attrNameLst>
                                          <p:attrName>style.rotation</p:attrName>
                                        </p:attrNameLst>
                                      </p:cBhvr>
                                      <p:tavLst>
                                        <p:tav tm="0">
                                          <p:val>
                                            <p:fltVal val="90"/>
                                          </p:val>
                                        </p:tav>
                                        <p:tav tm="100000">
                                          <p:val>
                                            <p:fltVal val="0"/>
                                          </p:val>
                                        </p:tav>
                                      </p:tavLst>
                                    </p:anim>
                                    <p:animEffect transition="in" filter="fade">
                                      <p:cBhvr>
                                        <p:cTn id="54" dur="1000"/>
                                        <p:tgtEl>
                                          <p:spTgt spid="2">
                                            <p:graphicEl>
                                              <a:dgm id="{A76F1970-A140-4F89-BBAB-7B985A3F6BBD}"/>
                                            </p:graphicEl>
                                          </p:spTgt>
                                        </p:tgtEl>
                                      </p:cBhvr>
                                    </p:animEffect>
                                  </p:childTnLst>
                                </p:cTn>
                              </p:par>
                              <p:par>
                                <p:cTn id="55" presetID="6" presetClass="emph" presetSubtype="0" fill="hold" grpId="1" nodeType="withEffect">
                                  <p:stCondLst>
                                    <p:cond delay="0"/>
                                  </p:stCondLst>
                                  <p:childTnLst>
                                    <p:animScale>
                                      <p:cBhvr>
                                        <p:cTn id="56" dur="2000" fill="hold"/>
                                        <p:tgtEl>
                                          <p:spTgt spid="2">
                                            <p:graphicEl>
                                              <a:dgm id="{A76F1970-A140-4F89-BBAB-7B985A3F6BBD}"/>
                                            </p:graphic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uiExpand="1">
        <p:bldSub>
          <a:bldDgm bld="one"/>
        </p:bldSub>
      </p:bldGraphic>
      <p:bldGraphic spid="2" grpId="1" uiExpand="1">
        <p:bldSub>
          <a:bldDgm bld="one"/>
        </p:bldSub>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53311A5-99DE-4393-9A6A-668B1A50F6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p>
        </p:txBody>
      </p:sp>
      <p:sp>
        <p:nvSpPr>
          <p:cNvPr id="20" name="Rectangle 19">
            <a:extLst>
              <a:ext uri="{FF2B5EF4-FFF2-40B4-BE49-F238E27FC236}">
                <a16:creationId xmlns:a16="http://schemas.microsoft.com/office/drawing/2014/main" id="{A4927983-BFBD-4CAA-A34E-2D3486ACF1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4193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p>
        </p:txBody>
      </p:sp>
      <p:cxnSp>
        <p:nvCxnSpPr>
          <p:cNvPr id="22" name="Straight Connector 21">
            <a:extLst>
              <a:ext uri="{FF2B5EF4-FFF2-40B4-BE49-F238E27FC236}">
                <a16:creationId xmlns:a16="http://schemas.microsoft.com/office/drawing/2014/main" id="{B40DF401-E6F0-4EFD-8C5C-6847352084C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24" name="Rectangle 23">
            <a:extLst>
              <a:ext uri="{FF2B5EF4-FFF2-40B4-BE49-F238E27FC236}">
                <a16:creationId xmlns:a16="http://schemas.microsoft.com/office/drawing/2014/main" id="{36AC2BAA-E39B-42F3-BC05-56D2BFB2EB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C36A3377-3BE1-4747-AB6F-4B5C5D424A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6297" y="0"/>
            <a:ext cx="70500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p>
        </p:txBody>
      </p:sp>
      <p:sp>
        <p:nvSpPr>
          <p:cNvPr id="4" name="Title 3">
            <a:extLst>
              <a:ext uri="{FF2B5EF4-FFF2-40B4-BE49-F238E27FC236}">
                <a16:creationId xmlns:a16="http://schemas.microsoft.com/office/drawing/2014/main" id="{23240087-A7B7-6EFB-C41A-6BE2335586ED}"/>
              </a:ext>
            </a:extLst>
          </p:cNvPr>
          <p:cNvSpPr>
            <a:spLocks noGrp="1"/>
          </p:cNvSpPr>
          <p:nvPr>
            <p:ph type="title"/>
          </p:nvPr>
        </p:nvSpPr>
        <p:spPr>
          <a:xfrm>
            <a:off x="5717731" y="639763"/>
            <a:ext cx="5825118" cy="5583499"/>
          </a:xfrm>
        </p:spPr>
        <p:txBody>
          <a:bodyPr vert="horz" lIns="91440" tIns="45720" rIns="91440" bIns="45720" rtlCol="0" anchor="ctr">
            <a:normAutofit/>
          </a:bodyPr>
          <a:lstStyle/>
          <a:p>
            <a:r>
              <a:rPr lang="en-US" sz="8000" dirty="0">
                <a:solidFill>
                  <a:srgbClr val="FFFFFF"/>
                </a:solidFill>
              </a:rPr>
              <a:t>Smart art as a start</a:t>
            </a:r>
          </a:p>
        </p:txBody>
      </p:sp>
      <p:sp>
        <p:nvSpPr>
          <p:cNvPr id="28" name="Rectangle 27">
            <a:extLst>
              <a:ext uri="{FF2B5EF4-FFF2-40B4-BE49-F238E27FC236}">
                <a16:creationId xmlns:a16="http://schemas.microsoft.com/office/drawing/2014/main" id="{36075DF2-7411-47B8-B875-5250A8B93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80940"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dirty="0"/>
          </a:p>
        </p:txBody>
      </p:sp>
      <p:grpSp>
        <p:nvGrpSpPr>
          <p:cNvPr id="13" name="Groep 12">
            <a:extLst>
              <a:ext uri="{FF2B5EF4-FFF2-40B4-BE49-F238E27FC236}">
                <a16:creationId xmlns:a16="http://schemas.microsoft.com/office/drawing/2014/main" id="{E74C0B31-A567-3D59-2371-8F89EF221EFB}"/>
              </a:ext>
            </a:extLst>
          </p:cNvPr>
          <p:cNvGrpSpPr/>
          <p:nvPr/>
        </p:nvGrpSpPr>
        <p:grpSpPr>
          <a:xfrm>
            <a:off x="492370" y="1167524"/>
            <a:ext cx="4384430" cy="4474016"/>
            <a:chOff x="3802743" y="391885"/>
            <a:chExt cx="4876799" cy="5538650"/>
          </a:xfrm>
        </p:grpSpPr>
        <p:sp>
          <p:nvSpPr>
            <p:cNvPr id="5" name="Ovaal 4">
              <a:extLst>
                <a:ext uri="{FF2B5EF4-FFF2-40B4-BE49-F238E27FC236}">
                  <a16:creationId xmlns:a16="http://schemas.microsoft.com/office/drawing/2014/main" id="{207086E7-5C9D-F8DC-7C60-6BD40406DD66}"/>
                </a:ext>
              </a:extLst>
            </p:cNvPr>
            <p:cNvSpPr/>
            <p:nvPr/>
          </p:nvSpPr>
          <p:spPr>
            <a:xfrm>
              <a:off x="3987365" y="618307"/>
              <a:ext cx="4493622" cy="1560575"/>
            </a:xfrm>
            <a:prstGeom prst="ellipse">
              <a:avLst/>
            </a:prstGeom>
          </p:spPr>
          <p:style>
            <a:lnRef idx="0">
              <a:schemeClr val="accent5">
                <a:hueOff val="0"/>
                <a:satOff val="0"/>
                <a:lumOff val="0"/>
                <a:alphaOff val="0"/>
              </a:schemeClr>
            </a:lnRef>
            <a:fillRef idx="1">
              <a:schemeClr val="accent5">
                <a:tint val="50000"/>
                <a:alpha val="40000"/>
                <a:hueOff val="0"/>
                <a:satOff val="0"/>
                <a:lumOff val="0"/>
                <a:alphaOff val="0"/>
              </a:schemeClr>
            </a:fillRef>
            <a:effectRef idx="0">
              <a:schemeClr val="accent5">
                <a:tint val="50000"/>
                <a:alpha val="40000"/>
                <a:hueOff val="0"/>
                <a:satOff val="0"/>
                <a:lumOff val="0"/>
                <a:alphaOff val="0"/>
              </a:schemeClr>
            </a:effectRef>
            <a:fontRef idx="minor">
              <a:schemeClr val="lt1">
                <a:hueOff val="0"/>
                <a:satOff val="0"/>
                <a:lumOff val="0"/>
                <a:alphaOff val="0"/>
              </a:schemeClr>
            </a:fontRef>
          </p:style>
          <p:txBody>
            <a:bodyPr/>
            <a:lstStyle/>
            <a:p>
              <a:endParaRPr lang="en-GB" dirty="0"/>
            </a:p>
          </p:txBody>
        </p:sp>
        <p:sp>
          <p:nvSpPr>
            <p:cNvPr id="6" name="Pijl: omlaag 5">
              <a:extLst>
                <a:ext uri="{FF2B5EF4-FFF2-40B4-BE49-F238E27FC236}">
                  <a16:creationId xmlns:a16="http://schemas.microsoft.com/office/drawing/2014/main" id="{BEB8EC4C-5C60-0F98-152B-B2989C4A00F3}"/>
                </a:ext>
              </a:extLst>
            </p:cNvPr>
            <p:cNvSpPr/>
            <p:nvPr/>
          </p:nvSpPr>
          <p:spPr>
            <a:xfrm>
              <a:off x="5805714" y="4439628"/>
              <a:ext cx="870857" cy="557348"/>
            </a:xfrm>
            <a:prstGeom prst="downArrow">
              <a:avLst/>
            </a:prstGeom>
          </p:spPr>
          <p:style>
            <a:lnRef idx="2">
              <a:schemeClr val="lt1">
                <a:hueOff val="0"/>
                <a:satOff val="0"/>
                <a:lumOff val="0"/>
                <a:alphaOff val="0"/>
              </a:schemeClr>
            </a:lnRef>
            <a:fillRef idx="1">
              <a:schemeClr val="accent5">
                <a:tint val="40000"/>
                <a:hueOff val="0"/>
                <a:satOff val="0"/>
                <a:lumOff val="0"/>
                <a:alphaOff val="0"/>
              </a:schemeClr>
            </a:fillRef>
            <a:effectRef idx="0">
              <a:schemeClr val="accent5">
                <a:tint val="40000"/>
                <a:hueOff val="0"/>
                <a:satOff val="0"/>
                <a:lumOff val="0"/>
                <a:alphaOff val="0"/>
              </a:schemeClr>
            </a:effectRef>
            <a:fontRef idx="minor">
              <a:schemeClr val="dk1">
                <a:hueOff val="0"/>
                <a:satOff val="0"/>
                <a:lumOff val="0"/>
                <a:alphaOff val="0"/>
              </a:schemeClr>
            </a:fontRef>
          </p:style>
          <p:txBody>
            <a:bodyPr/>
            <a:lstStyle/>
            <a:p>
              <a:endParaRPr lang="nl-BE" dirty="0"/>
            </a:p>
          </p:txBody>
        </p:sp>
        <p:sp>
          <p:nvSpPr>
            <p:cNvPr id="7" name="Vrije vorm: vorm 6">
              <a:extLst>
                <a:ext uri="{FF2B5EF4-FFF2-40B4-BE49-F238E27FC236}">
                  <a16:creationId xmlns:a16="http://schemas.microsoft.com/office/drawing/2014/main" id="{467308FD-1811-0962-6952-9F19868F7389}"/>
                </a:ext>
              </a:extLst>
            </p:cNvPr>
            <p:cNvSpPr/>
            <p:nvPr/>
          </p:nvSpPr>
          <p:spPr>
            <a:xfrm>
              <a:off x="4151086" y="4885507"/>
              <a:ext cx="4180113" cy="1045028"/>
            </a:xfrm>
            <a:custGeom>
              <a:avLst/>
              <a:gdLst>
                <a:gd name="connsiteX0" fmla="*/ 0 w 4180113"/>
                <a:gd name="connsiteY0" fmla="*/ 0 h 1045028"/>
                <a:gd name="connsiteX1" fmla="*/ 4180113 w 4180113"/>
                <a:gd name="connsiteY1" fmla="*/ 0 h 1045028"/>
                <a:gd name="connsiteX2" fmla="*/ 4180113 w 4180113"/>
                <a:gd name="connsiteY2" fmla="*/ 1045028 h 1045028"/>
                <a:gd name="connsiteX3" fmla="*/ 0 w 4180113"/>
                <a:gd name="connsiteY3" fmla="*/ 1045028 h 1045028"/>
                <a:gd name="connsiteX4" fmla="*/ 0 w 4180113"/>
                <a:gd name="connsiteY4" fmla="*/ 0 h 10450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0113" h="1045028">
                  <a:moveTo>
                    <a:pt x="0" y="0"/>
                  </a:moveTo>
                  <a:lnTo>
                    <a:pt x="4180113" y="0"/>
                  </a:lnTo>
                  <a:lnTo>
                    <a:pt x="4180113" y="1045028"/>
                  </a:lnTo>
                  <a:lnTo>
                    <a:pt x="0" y="10450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3144" tIns="263144" rIns="263144" bIns="263144" numCol="1" spcCol="1270" anchor="ctr" anchorCtr="0">
              <a:noAutofit/>
            </a:bodyPr>
            <a:lstStyle/>
            <a:p>
              <a:pPr algn="ctr" defTabSz="1315720">
                <a:lnSpc>
                  <a:spcPct val="90000"/>
                </a:lnSpc>
                <a:spcBef>
                  <a:spcPct val="0"/>
                </a:spcBef>
                <a:spcAft>
                  <a:spcPct val="35000"/>
                </a:spcAft>
              </a:pPr>
              <a:r>
                <a:rPr lang="en-GB" sz="2960" kern="1200" dirty="0">
                  <a:solidFill>
                    <a:schemeClr val="tx1">
                      <a:hueOff val="0"/>
                      <a:satOff val="0"/>
                      <a:lumOff val="0"/>
                      <a:alphaOff val="0"/>
                    </a:schemeClr>
                  </a:solidFill>
                  <a:latin typeface="+mn-lt"/>
                  <a:ea typeface="+mn-ea"/>
                  <a:cs typeface="+mn-cs"/>
                </a:rPr>
                <a:t>Slide</a:t>
              </a:r>
              <a:endParaRPr lang="en-GB" sz="3700" kern="1200" dirty="0"/>
            </a:p>
          </p:txBody>
        </p:sp>
        <p:sp>
          <p:nvSpPr>
            <p:cNvPr id="8" name="Vrije vorm: vorm 7">
              <a:extLst>
                <a:ext uri="{FF2B5EF4-FFF2-40B4-BE49-F238E27FC236}">
                  <a16:creationId xmlns:a16="http://schemas.microsoft.com/office/drawing/2014/main" id="{1E8611BD-B0E8-85AD-C031-8E90F2FFBD05}"/>
                </a:ext>
              </a:extLst>
            </p:cNvPr>
            <p:cNvSpPr/>
            <p:nvPr/>
          </p:nvSpPr>
          <p:spPr>
            <a:xfrm>
              <a:off x="5185662" y="2299410"/>
              <a:ext cx="1404000" cy="1440000"/>
            </a:xfrm>
            <a:custGeom>
              <a:avLst/>
              <a:gdLst>
                <a:gd name="connsiteX0" fmla="*/ 0 w 1567542"/>
                <a:gd name="connsiteY0" fmla="*/ 783771 h 1567542"/>
                <a:gd name="connsiteX1" fmla="*/ 783771 w 1567542"/>
                <a:gd name="connsiteY1" fmla="*/ 0 h 1567542"/>
                <a:gd name="connsiteX2" fmla="*/ 1567542 w 1567542"/>
                <a:gd name="connsiteY2" fmla="*/ 783771 h 1567542"/>
                <a:gd name="connsiteX3" fmla="*/ 783771 w 1567542"/>
                <a:gd name="connsiteY3" fmla="*/ 1567542 h 1567542"/>
                <a:gd name="connsiteX4" fmla="*/ 0 w 1567542"/>
                <a:gd name="connsiteY4" fmla="*/ 783771 h 156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542" h="1567542">
                  <a:moveTo>
                    <a:pt x="0" y="783771"/>
                  </a:moveTo>
                  <a:cubicBezTo>
                    <a:pt x="0" y="350906"/>
                    <a:pt x="350906" y="0"/>
                    <a:pt x="783771" y="0"/>
                  </a:cubicBezTo>
                  <a:cubicBezTo>
                    <a:pt x="1216636" y="0"/>
                    <a:pt x="1567542" y="350906"/>
                    <a:pt x="1567542" y="783771"/>
                  </a:cubicBezTo>
                  <a:cubicBezTo>
                    <a:pt x="1567542" y="1216636"/>
                    <a:pt x="1216636" y="1567542"/>
                    <a:pt x="783771" y="1567542"/>
                  </a:cubicBezTo>
                  <a:cubicBezTo>
                    <a:pt x="350906" y="1567542"/>
                    <a:pt x="0" y="1216636"/>
                    <a:pt x="0" y="783771"/>
                  </a:cubicBez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61311" tIns="261311" rIns="261311" bIns="261311" numCol="1" spcCol="1270" anchor="ctr" anchorCtr="0">
              <a:noAutofit/>
            </a:bodyPr>
            <a:lstStyle/>
            <a:p>
              <a:pPr algn="ctr" defTabSz="889000">
                <a:lnSpc>
                  <a:spcPct val="90000"/>
                </a:lnSpc>
                <a:spcBef>
                  <a:spcPct val="0"/>
                </a:spcBef>
                <a:spcAft>
                  <a:spcPct val="35000"/>
                </a:spcAft>
              </a:pPr>
              <a:r>
                <a:rPr lang="en-GB" sz="1600" kern="1200" dirty="0">
                  <a:solidFill>
                    <a:srgbClr val="555555"/>
                  </a:solidFill>
                  <a:latin typeface="+mn-lt"/>
                  <a:ea typeface="+mn-ea"/>
                  <a:cs typeface="+mn-cs"/>
                </a:rPr>
                <a:t>Layouts</a:t>
              </a:r>
              <a:endParaRPr lang="en-GB" sz="2000" kern="1200" dirty="0"/>
            </a:p>
          </p:txBody>
        </p:sp>
        <p:sp>
          <p:nvSpPr>
            <p:cNvPr id="9" name="Vrije vorm: vorm 8">
              <a:extLst>
                <a:ext uri="{FF2B5EF4-FFF2-40B4-BE49-F238E27FC236}">
                  <a16:creationId xmlns:a16="http://schemas.microsoft.com/office/drawing/2014/main" id="{595A3D7D-3740-1078-6004-679E77A7C0A7}"/>
                </a:ext>
              </a:extLst>
            </p:cNvPr>
            <p:cNvSpPr/>
            <p:nvPr/>
          </p:nvSpPr>
          <p:spPr>
            <a:xfrm>
              <a:off x="4337740" y="1057219"/>
              <a:ext cx="1404000" cy="1440000"/>
            </a:xfrm>
            <a:custGeom>
              <a:avLst/>
              <a:gdLst>
                <a:gd name="connsiteX0" fmla="*/ 0 w 1567542"/>
                <a:gd name="connsiteY0" fmla="*/ 783771 h 1567542"/>
                <a:gd name="connsiteX1" fmla="*/ 783771 w 1567542"/>
                <a:gd name="connsiteY1" fmla="*/ 0 h 1567542"/>
                <a:gd name="connsiteX2" fmla="*/ 1567542 w 1567542"/>
                <a:gd name="connsiteY2" fmla="*/ 783771 h 1567542"/>
                <a:gd name="connsiteX3" fmla="*/ 783771 w 1567542"/>
                <a:gd name="connsiteY3" fmla="*/ 1567542 h 1567542"/>
                <a:gd name="connsiteX4" fmla="*/ 0 w 1567542"/>
                <a:gd name="connsiteY4" fmla="*/ 783771 h 156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542" h="1567542">
                  <a:moveTo>
                    <a:pt x="0" y="783771"/>
                  </a:moveTo>
                  <a:cubicBezTo>
                    <a:pt x="0" y="350906"/>
                    <a:pt x="350906" y="0"/>
                    <a:pt x="783771" y="0"/>
                  </a:cubicBezTo>
                  <a:cubicBezTo>
                    <a:pt x="1216636" y="0"/>
                    <a:pt x="1567542" y="350906"/>
                    <a:pt x="1567542" y="783771"/>
                  </a:cubicBezTo>
                  <a:cubicBezTo>
                    <a:pt x="1567542" y="1216636"/>
                    <a:pt x="1216636" y="1567542"/>
                    <a:pt x="783771" y="1567542"/>
                  </a:cubicBezTo>
                  <a:cubicBezTo>
                    <a:pt x="350906" y="1567542"/>
                    <a:pt x="0" y="1216636"/>
                    <a:pt x="0" y="783771"/>
                  </a:cubicBezTo>
                  <a:close/>
                </a:path>
              </a:pathLst>
            </a:custGeom>
          </p:spPr>
          <p:style>
            <a:lnRef idx="2">
              <a:schemeClr val="lt1">
                <a:hueOff val="0"/>
                <a:satOff val="0"/>
                <a:lumOff val="0"/>
                <a:alphaOff val="0"/>
              </a:schemeClr>
            </a:lnRef>
            <a:fillRef idx="1">
              <a:schemeClr val="accent5">
                <a:hueOff val="1063560"/>
                <a:satOff val="-11946"/>
                <a:lumOff val="-2549"/>
                <a:alphaOff val="0"/>
              </a:schemeClr>
            </a:fillRef>
            <a:effectRef idx="0">
              <a:schemeClr val="accent5">
                <a:hueOff val="1063560"/>
                <a:satOff val="-11946"/>
                <a:lumOff val="-2549"/>
                <a:alphaOff val="0"/>
              </a:schemeClr>
            </a:effectRef>
            <a:fontRef idx="minor">
              <a:schemeClr val="lt1"/>
            </a:fontRef>
          </p:style>
          <p:txBody>
            <a:bodyPr spcFirstLastPara="0" vert="horz" wrap="square" lIns="261311" tIns="261311" rIns="261311" bIns="261311" numCol="1" spcCol="1270" anchor="ctr" anchorCtr="0">
              <a:noAutofit/>
            </a:bodyPr>
            <a:lstStyle/>
            <a:p>
              <a:pPr algn="ctr" defTabSz="889000">
                <a:lnSpc>
                  <a:spcPct val="90000"/>
                </a:lnSpc>
                <a:spcBef>
                  <a:spcPct val="0"/>
                </a:spcBef>
                <a:spcAft>
                  <a:spcPct val="35000"/>
                </a:spcAft>
              </a:pPr>
              <a:r>
                <a:rPr lang="en-GB" sz="1600" kern="1200" dirty="0">
                  <a:solidFill>
                    <a:srgbClr val="555555"/>
                  </a:solidFill>
                  <a:latin typeface="+mn-lt"/>
                  <a:ea typeface="+mn-ea"/>
                  <a:cs typeface="+mn-cs"/>
                </a:rPr>
                <a:t>Master layer</a:t>
              </a:r>
              <a:endParaRPr lang="en-GB" sz="2000" kern="1200" dirty="0"/>
            </a:p>
          </p:txBody>
        </p:sp>
        <p:sp>
          <p:nvSpPr>
            <p:cNvPr id="10" name="Vrije vorm: vorm 9">
              <a:extLst>
                <a:ext uri="{FF2B5EF4-FFF2-40B4-BE49-F238E27FC236}">
                  <a16:creationId xmlns:a16="http://schemas.microsoft.com/office/drawing/2014/main" id="{14CA5E9B-027A-2910-797C-C175BA9D3694}"/>
                </a:ext>
              </a:extLst>
            </p:cNvPr>
            <p:cNvSpPr/>
            <p:nvPr/>
          </p:nvSpPr>
          <p:spPr>
            <a:xfrm>
              <a:off x="5892800" y="508929"/>
              <a:ext cx="1404000" cy="1440000"/>
            </a:xfrm>
            <a:custGeom>
              <a:avLst/>
              <a:gdLst>
                <a:gd name="connsiteX0" fmla="*/ 0 w 1567542"/>
                <a:gd name="connsiteY0" fmla="*/ 783771 h 1567542"/>
                <a:gd name="connsiteX1" fmla="*/ 783771 w 1567542"/>
                <a:gd name="connsiteY1" fmla="*/ 0 h 1567542"/>
                <a:gd name="connsiteX2" fmla="*/ 1567542 w 1567542"/>
                <a:gd name="connsiteY2" fmla="*/ 783771 h 1567542"/>
                <a:gd name="connsiteX3" fmla="*/ 783771 w 1567542"/>
                <a:gd name="connsiteY3" fmla="*/ 1567542 h 1567542"/>
                <a:gd name="connsiteX4" fmla="*/ 0 w 1567542"/>
                <a:gd name="connsiteY4" fmla="*/ 783771 h 156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542" h="1567542">
                  <a:moveTo>
                    <a:pt x="0" y="783771"/>
                  </a:moveTo>
                  <a:cubicBezTo>
                    <a:pt x="0" y="350906"/>
                    <a:pt x="350906" y="0"/>
                    <a:pt x="783771" y="0"/>
                  </a:cubicBezTo>
                  <a:cubicBezTo>
                    <a:pt x="1216636" y="0"/>
                    <a:pt x="1567542" y="350906"/>
                    <a:pt x="1567542" y="783771"/>
                  </a:cubicBezTo>
                  <a:cubicBezTo>
                    <a:pt x="1567542" y="1216636"/>
                    <a:pt x="1216636" y="1567542"/>
                    <a:pt x="783771" y="1567542"/>
                  </a:cubicBezTo>
                  <a:cubicBezTo>
                    <a:pt x="350906" y="1567542"/>
                    <a:pt x="0" y="1216636"/>
                    <a:pt x="0" y="783771"/>
                  </a:cubicBezTo>
                  <a:close/>
                </a:path>
              </a:pathLst>
            </a:custGeom>
          </p:spPr>
          <p:style>
            <a:lnRef idx="2">
              <a:schemeClr val="lt1">
                <a:hueOff val="0"/>
                <a:satOff val="0"/>
                <a:lumOff val="0"/>
                <a:alphaOff val="0"/>
              </a:schemeClr>
            </a:lnRef>
            <a:fillRef idx="1">
              <a:schemeClr val="accent5">
                <a:hueOff val="2127120"/>
                <a:satOff val="-23891"/>
                <a:lumOff val="-5098"/>
                <a:alphaOff val="0"/>
              </a:schemeClr>
            </a:fillRef>
            <a:effectRef idx="0">
              <a:schemeClr val="accent5">
                <a:hueOff val="2127120"/>
                <a:satOff val="-23891"/>
                <a:lumOff val="-5098"/>
                <a:alphaOff val="0"/>
              </a:schemeClr>
            </a:effectRef>
            <a:fontRef idx="minor">
              <a:schemeClr val="lt1"/>
            </a:fontRef>
          </p:style>
          <p:txBody>
            <a:bodyPr spcFirstLastPara="0" vert="horz" wrap="square" lIns="261311" tIns="261311" rIns="261311" bIns="261311" numCol="1" spcCol="1270" anchor="ctr" anchorCtr="0">
              <a:noAutofit/>
            </a:bodyPr>
            <a:lstStyle/>
            <a:p>
              <a:pPr algn="ctr" defTabSz="889000">
                <a:lnSpc>
                  <a:spcPct val="90000"/>
                </a:lnSpc>
                <a:spcBef>
                  <a:spcPct val="0"/>
                </a:spcBef>
                <a:spcAft>
                  <a:spcPct val="35000"/>
                </a:spcAft>
              </a:pPr>
              <a:r>
                <a:rPr lang="en-GB" sz="1600" kern="1200" dirty="0">
                  <a:solidFill>
                    <a:srgbClr val="555555"/>
                  </a:solidFill>
                  <a:latin typeface="+mn-lt"/>
                  <a:ea typeface="+mn-ea"/>
                  <a:cs typeface="+mn-cs"/>
                </a:rPr>
                <a:t>Content layer</a:t>
              </a:r>
              <a:endParaRPr lang="nl-BE" sz="2000" kern="1200" dirty="0"/>
            </a:p>
          </p:txBody>
        </p:sp>
        <p:sp>
          <p:nvSpPr>
            <p:cNvPr id="12" name="Vrije vorm: vorm 11">
              <a:extLst>
                <a:ext uri="{FF2B5EF4-FFF2-40B4-BE49-F238E27FC236}">
                  <a16:creationId xmlns:a16="http://schemas.microsoft.com/office/drawing/2014/main" id="{A18E3B9D-C7D9-FE4A-1B8E-88ED544B8759}"/>
                </a:ext>
              </a:extLst>
            </p:cNvPr>
            <p:cNvSpPr/>
            <p:nvPr/>
          </p:nvSpPr>
          <p:spPr>
            <a:xfrm>
              <a:off x="6366546" y="1485547"/>
              <a:ext cx="1404000" cy="1440000"/>
            </a:xfrm>
            <a:custGeom>
              <a:avLst/>
              <a:gdLst>
                <a:gd name="connsiteX0" fmla="*/ 0 w 1567542"/>
                <a:gd name="connsiteY0" fmla="*/ 783771 h 1567542"/>
                <a:gd name="connsiteX1" fmla="*/ 783771 w 1567542"/>
                <a:gd name="connsiteY1" fmla="*/ 0 h 1567542"/>
                <a:gd name="connsiteX2" fmla="*/ 1567542 w 1567542"/>
                <a:gd name="connsiteY2" fmla="*/ 783771 h 1567542"/>
                <a:gd name="connsiteX3" fmla="*/ 783771 w 1567542"/>
                <a:gd name="connsiteY3" fmla="*/ 1567542 h 1567542"/>
                <a:gd name="connsiteX4" fmla="*/ 0 w 1567542"/>
                <a:gd name="connsiteY4" fmla="*/ 783771 h 156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542" h="1567542">
                  <a:moveTo>
                    <a:pt x="0" y="783771"/>
                  </a:moveTo>
                  <a:cubicBezTo>
                    <a:pt x="0" y="350906"/>
                    <a:pt x="350906" y="0"/>
                    <a:pt x="783771" y="0"/>
                  </a:cubicBezTo>
                  <a:cubicBezTo>
                    <a:pt x="1216636" y="0"/>
                    <a:pt x="1567542" y="350906"/>
                    <a:pt x="1567542" y="783771"/>
                  </a:cubicBezTo>
                  <a:cubicBezTo>
                    <a:pt x="1567542" y="1216636"/>
                    <a:pt x="1216636" y="1567542"/>
                    <a:pt x="783771" y="1567542"/>
                  </a:cubicBezTo>
                  <a:cubicBezTo>
                    <a:pt x="350906" y="1567542"/>
                    <a:pt x="0" y="1216636"/>
                    <a:pt x="0" y="783771"/>
                  </a:cubicBezTo>
                  <a:close/>
                </a:path>
              </a:pathLst>
            </a:custGeom>
          </p:spPr>
          <p:style>
            <a:lnRef idx="2">
              <a:schemeClr val="lt1">
                <a:hueOff val="0"/>
                <a:satOff val="0"/>
                <a:lumOff val="0"/>
                <a:alphaOff val="0"/>
              </a:schemeClr>
            </a:lnRef>
            <a:fillRef idx="1">
              <a:schemeClr val="accent5">
                <a:hueOff val="2127120"/>
                <a:satOff val="-23891"/>
                <a:lumOff val="-5098"/>
                <a:alphaOff val="0"/>
              </a:schemeClr>
            </a:fillRef>
            <a:effectRef idx="0">
              <a:schemeClr val="accent5">
                <a:hueOff val="2127120"/>
                <a:satOff val="-23891"/>
                <a:lumOff val="-5098"/>
                <a:alphaOff val="0"/>
              </a:schemeClr>
            </a:effectRef>
            <a:fontRef idx="minor">
              <a:schemeClr val="lt1"/>
            </a:fontRef>
          </p:style>
          <p:txBody>
            <a:bodyPr spcFirstLastPara="0" vert="horz" wrap="square" lIns="261311" tIns="261311" rIns="261311" bIns="261311" numCol="1" spcCol="1270" anchor="ctr" anchorCtr="0">
              <a:noAutofit/>
            </a:bodyPr>
            <a:lstStyle/>
            <a:p>
              <a:pPr algn="ctr" defTabSz="889000">
                <a:lnSpc>
                  <a:spcPct val="90000"/>
                </a:lnSpc>
                <a:spcBef>
                  <a:spcPct val="0"/>
                </a:spcBef>
                <a:spcAft>
                  <a:spcPct val="35000"/>
                </a:spcAft>
              </a:pPr>
              <a:r>
                <a:rPr lang="en-GB" sz="1600" kern="1200" dirty="0">
                  <a:solidFill>
                    <a:srgbClr val="555555"/>
                  </a:solidFill>
                  <a:latin typeface="+mn-lt"/>
                  <a:ea typeface="+mn-ea"/>
                  <a:cs typeface="+mn-cs"/>
                </a:rPr>
                <a:t>Content layer</a:t>
              </a:r>
              <a:endParaRPr lang="nl-BE" sz="2000" kern="1200" dirty="0"/>
            </a:p>
          </p:txBody>
        </p:sp>
        <p:sp>
          <p:nvSpPr>
            <p:cNvPr id="11" name="Vorm 10">
              <a:extLst>
                <a:ext uri="{FF2B5EF4-FFF2-40B4-BE49-F238E27FC236}">
                  <a16:creationId xmlns:a16="http://schemas.microsoft.com/office/drawing/2014/main" id="{E81AE9B4-B9FC-1B37-0FD2-BF4730EA9B4D}"/>
                </a:ext>
              </a:extLst>
            </p:cNvPr>
            <p:cNvSpPr/>
            <p:nvPr/>
          </p:nvSpPr>
          <p:spPr>
            <a:xfrm>
              <a:off x="3802743" y="391885"/>
              <a:ext cx="4876799" cy="3901439"/>
            </a:xfrm>
            <a:prstGeom prst="funnel">
              <a:avLst/>
            </a:prstGeom>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GB" dirty="0"/>
            </a:p>
          </p:txBody>
        </p:sp>
      </p:grpSp>
    </p:spTree>
    <p:extLst>
      <p:ext uri="{BB962C8B-B14F-4D97-AF65-F5344CB8AC3E}">
        <p14:creationId xmlns:p14="http://schemas.microsoft.com/office/powerpoint/2010/main" val="2465406265"/>
      </p:ext>
    </p:extLst>
  </p:cSld>
  <p:clrMapOvr>
    <a:masterClrMapping/>
  </p:clrMapOvr>
  <p:transition spd="slow">
    <p:push dir="r"/>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5575CC-67E1-42DA-E9E8-8535162444FA}"/>
              </a:ext>
            </a:extLst>
          </p:cNvPr>
          <p:cNvSpPr>
            <a:spLocks noGrp="1"/>
          </p:cNvSpPr>
          <p:nvPr>
            <p:ph type="title"/>
          </p:nvPr>
        </p:nvSpPr>
        <p:spPr/>
        <p:txBody>
          <a:bodyPr/>
          <a:lstStyle/>
          <a:p>
            <a:r>
              <a:rPr lang="en-GB" dirty="0"/>
              <a:t>Building blocks</a:t>
            </a:r>
          </a:p>
        </p:txBody>
      </p:sp>
      <p:sp>
        <p:nvSpPr>
          <p:cNvPr id="6" name="Content Placeholder 5">
            <a:extLst>
              <a:ext uri="{FF2B5EF4-FFF2-40B4-BE49-F238E27FC236}">
                <a16:creationId xmlns:a16="http://schemas.microsoft.com/office/drawing/2014/main" id="{31CE2F24-5D30-E045-3111-4A9DF54009EE}"/>
              </a:ext>
            </a:extLst>
          </p:cNvPr>
          <p:cNvSpPr>
            <a:spLocks noGrp="1"/>
          </p:cNvSpPr>
          <p:nvPr>
            <p:ph idx="1"/>
          </p:nvPr>
        </p:nvSpPr>
        <p:spPr/>
        <p:txBody>
          <a:bodyPr>
            <a:normAutofit fontScale="92500" lnSpcReduction="10000"/>
          </a:bodyPr>
          <a:lstStyle/>
          <a:p>
            <a:r>
              <a:rPr lang="en-GB" dirty="0"/>
              <a:t>Objects &amp; manipulations</a:t>
            </a:r>
          </a:p>
          <a:p>
            <a:r>
              <a:rPr lang="en-GB" dirty="0"/>
              <a:t>Text </a:t>
            </a:r>
          </a:p>
          <a:p>
            <a:r>
              <a:rPr lang="en-GB" dirty="0"/>
              <a:t>Images</a:t>
            </a:r>
          </a:p>
          <a:p>
            <a:r>
              <a:rPr lang="en-GB" dirty="0"/>
              <a:t>Shapes</a:t>
            </a:r>
          </a:p>
          <a:p>
            <a:r>
              <a:rPr lang="en-GB" dirty="0"/>
              <a:t>Smart-Arts</a:t>
            </a:r>
          </a:p>
          <a:p>
            <a:r>
              <a:rPr lang="en-GB" dirty="0"/>
              <a:t>Charts</a:t>
            </a:r>
          </a:p>
          <a:p>
            <a:r>
              <a:rPr lang="en-GB" dirty="0"/>
              <a:t>Tables</a:t>
            </a:r>
          </a:p>
          <a:p>
            <a:r>
              <a:rPr lang="en-GB" dirty="0"/>
              <a:t>Audio</a:t>
            </a:r>
          </a:p>
          <a:p>
            <a:r>
              <a:rPr lang="en-GB" dirty="0"/>
              <a:t>Video</a:t>
            </a:r>
          </a:p>
        </p:txBody>
      </p:sp>
    </p:spTree>
    <p:extLst>
      <p:ext uri="{BB962C8B-B14F-4D97-AF65-F5344CB8AC3E}">
        <p14:creationId xmlns:p14="http://schemas.microsoft.com/office/powerpoint/2010/main" val="2177771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5575CC-67E1-42DA-E9E8-8535162444FA}"/>
              </a:ext>
            </a:extLst>
          </p:cNvPr>
          <p:cNvSpPr>
            <a:spLocks noGrp="1"/>
          </p:cNvSpPr>
          <p:nvPr>
            <p:ph type="title"/>
          </p:nvPr>
        </p:nvSpPr>
        <p:spPr/>
        <p:txBody>
          <a:bodyPr>
            <a:normAutofit/>
          </a:bodyPr>
          <a:lstStyle/>
          <a:p>
            <a:r>
              <a:rPr lang="en-GB" dirty="0"/>
              <a:t>Building blocks – </a:t>
            </a:r>
            <a:r>
              <a:rPr lang="en-GB" dirty="0" err="1"/>
              <a:t>objecten</a:t>
            </a:r>
            <a:r>
              <a:rPr lang="en-GB" dirty="0"/>
              <a:t>				</a:t>
            </a:r>
          </a:p>
        </p:txBody>
      </p:sp>
      <p:graphicFrame>
        <p:nvGraphicFramePr>
          <p:cNvPr id="7" name="Content Placeholder 6">
            <a:extLst>
              <a:ext uri="{FF2B5EF4-FFF2-40B4-BE49-F238E27FC236}">
                <a16:creationId xmlns:a16="http://schemas.microsoft.com/office/drawing/2014/main" id="{CA95C588-7C44-6217-14B3-B85449D76815}"/>
              </a:ext>
            </a:extLst>
          </p:cNvPr>
          <p:cNvGraphicFramePr>
            <a:graphicFrameLocks noGrp="1"/>
          </p:cNvGraphicFramePr>
          <p:nvPr>
            <p:ph idx="4294967295"/>
            <p:extLst>
              <p:ext uri="{D42A27DB-BD31-4B8C-83A1-F6EECF244321}">
                <p14:modId xmlns:p14="http://schemas.microsoft.com/office/powerpoint/2010/main" val="2701256024"/>
              </p:ext>
            </p:extLst>
          </p:nvPr>
        </p:nvGraphicFramePr>
        <p:xfrm>
          <a:off x="0" y="1185863"/>
          <a:ext cx="8145463" cy="4683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kstvak 1">
            <a:extLst>
              <a:ext uri="{FF2B5EF4-FFF2-40B4-BE49-F238E27FC236}">
                <a16:creationId xmlns:a16="http://schemas.microsoft.com/office/drawing/2014/main" id="{7469BD47-1BCE-0584-2108-BCFC45DD586F}"/>
              </a:ext>
            </a:extLst>
          </p:cNvPr>
          <p:cNvSpPr txBox="1"/>
          <p:nvPr/>
        </p:nvSpPr>
        <p:spPr>
          <a:xfrm>
            <a:off x="8779236" y="2631789"/>
            <a:ext cx="2376444" cy="1269853"/>
          </a:xfrm>
          <a:prstGeom prst="rect">
            <a:avLst/>
          </a:prstGeom>
          <a:solidFill>
            <a:schemeClr val="accent2">
              <a:lumMod val="75000"/>
            </a:schemeClr>
          </a:solidFill>
        </p:spPr>
        <p:style>
          <a:lnRef idx="3">
            <a:schemeClr val="lt1"/>
          </a:lnRef>
          <a:fillRef idx="1">
            <a:schemeClr val="accent6"/>
          </a:fillRef>
          <a:effectRef idx="1">
            <a:schemeClr val="accent6"/>
          </a:effectRef>
          <a:fontRef idx="minor">
            <a:schemeClr val="lt1"/>
          </a:fontRef>
        </p:style>
        <p:txBody>
          <a:bodyPr wrap="square" rtlCol="0" anchor="ctr">
            <a:noAutofit/>
          </a:bodyPr>
          <a:lstStyle/>
          <a:p>
            <a:pPr algn="ctr"/>
            <a:r>
              <a:rPr lang="nl-BE" dirty="0" err="1"/>
              <a:t>This</a:t>
            </a:r>
            <a:r>
              <a:rPr lang="nl-BE" dirty="0"/>
              <a:t> is a </a:t>
            </a:r>
            <a:r>
              <a:rPr lang="nl-BE" dirty="0" err="1"/>
              <a:t>text</a:t>
            </a:r>
            <a:r>
              <a:rPr lang="nl-BE" dirty="0"/>
              <a:t> box</a:t>
            </a:r>
            <a:br>
              <a:rPr lang="nl-BE" dirty="0"/>
            </a:br>
            <a:r>
              <a:rPr lang="nl-BE" dirty="0"/>
              <a:t>DOES NOT follow master !</a:t>
            </a:r>
          </a:p>
        </p:txBody>
      </p:sp>
    </p:spTree>
    <p:extLst>
      <p:ext uri="{BB962C8B-B14F-4D97-AF65-F5344CB8AC3E}">
        <p14:creationId xmlns:p14="http://schemas.microsoft.com/office/powerpoint/2010/main" val="4072531004"/>
      </p:ext>
    </p:extLst>
  </p:cSld>
  <p:clrMapOvr>
    <a:masterClrMapping/>
  </p:clrMapOvr>
  <p:transition spd="slow">
    <p:push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F34BF-FC67-1125-A059-F89DC7D4330A}"/>
              </a:ext>
            </a:extLst>
          </p:cNvPr>
          <p:cNvSpPr>
            <a:spLocks noGrp="1"/>
          </p:cNvSpPr>
          <p:nvPr>
            <p:ph type="title"/>
          </p:nvPr>
        </p:nvSpPr>
        <p:spPr/>
        <p:txBody>
          <a:bodyPr/>
          <a:lstStyle/>
          <a:p>
            <a:r>
              <a:rPr lang="nl-BE" dirty="0"/>
              <a:t>Images</a:t>
            </a:r>
            <a:endParaRPr lang="en-GB" dirty="0"/>
          </a:p>
        </p:txBody>
      </p:sp>
      <p:sp>
        <p:nvSpPr>
          <p:cNvPr id="3" name="Content Placeholder 2">
            <a:extLst>
              <a:ext uri="{FF2B5EF4-FFF2-40B4-BE49-F238E27FC236}">
                <a16:creationId xmlns:a16="http://schemas.microsoft.com/office/drawing/2014/main" id="{96436F06-5390-934D-BBFE-5460F677273E}"/>
              </a:ext>
            </a:extLst>
          </p:cNvPr>
          <p:cNvSpPr>
            <a:spLocks noGrp="1"/>
          </p:cNvSpPr>
          <p:nvPr>
            <p:ph idx="1"/>
          </p:nvPr>
        </p:nvSpPr>
        <p:spPr/>
        <p:txBody>
          <a:bodyPr/>
          <a:lstStyle/>
          <a:p>
            <a:r>
              <a:rPr lang="nl-BE" dirty="0" err="1"/>
              <a:t>Retouch</a:t>
            </a:r>
            <a:r>
              <a:rPr lang="nl-BE" dirty="0"/>
              <a:t> / </a:t>
            </a:r>
            <a:r>
              <a:rPr lang="nl-BE" dirty="0" err="1"/>
              <a:t>sharpen</a:t>
            </a:r>
            <a:r>
              <a:rPr lang="nl-BE" dirty="0"/>
              <a:t> tools</a:t>
            </a:r>
          </a:p>
          <a:p>
            <a:r>
              <a:rPr lang="nl-BE" dirty="0"/>
              <a:t>Reset</a:t>
            </a:r>
          </a:p>
          <a:p>
            <a:r>
              <a:rPr lang="en-GB" dirty="0"/>
              <a:t>Resolution</a:t>
            </a:r>
          </a:p>
          <a:p>
            <a:r>
              <a:rPr lang="en-GB" dirty="0"/>
              <a:t>Types</a:t>
            </a:r>
          </a:p>
        </p:txBody>
      </p:sp>
    </p:spTree>
    <p:extLst>
      <p:ext uri="{BB962C8B-B14F-4D97-AF65-F5344CB8AC3E}">
        <p14:creationId xmlns:p14="http://schemas.microsoft.com/office/powerpoint/2010/main" val="10395394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psuz="http://schemas.microsoft.com/office/powerpoint/2016/summaryzoom" Requires="psuz">
          <p:graphicFrame>
            <p:nvGraphicFramePr>
              <p:cNvPr id="5" name="Overzichtzoom 4">
                <a:extLst>
                  <a:ext uri="{FF2B5EF4-FFF2-40B4-BE49-F238E27FC236}">
                    <a16:creationId xmlns:a16="http://schemas.microsoft.com/office/drawing/2014/main" id="{7C937D0D-8776-3C33-ADCC-4E1E9B81890A}"/>
                  </a:ext>
                </a:extLst>
              </p:cNvPr>
              <p:cNvGraphicFramePr>
                <a:graphicFrameLocks noChangeAspect="1"/>
              </p:cNvGraphicFramePr>
              <p:nvPr>
                <p:extLst>
                  <p:ext uri="{D42A27DB-BD31-4B8C-83A1-F6EECF244321}">
                    <p14:modId xmlns:p14="http://schemas.microsoft.com/office/powerpoint/2010/main" val="2111909639"/>
                  </p:ext>
                </p:extLst>
              </p:nvPr>
            </p:nvGraphicFramePr>
            <p:xfrm>
              <a:off x="231648" y="0"/>
              <a:ext cx="11740895" cy="6412992"/>
            </p:xfrm>
            <a:graphic>
              <a:graphicData uri="http://schemas.microsoft.com/office/powerpoint/2016/summaryzoom">
                <psuz:summaryZm>
                  <psuz:summaryZmObj sectionId="{9DEC7AA0-5F85-4924-BACE-484AB0C5C473}">
                    <psuz:zmPr id="{38F01ABD-5D92-4413-9E77-A23B46EB3232}" transitionDur="1000">
                      <p166:blipFill xmlns:p166="http://schemas.microsoft.com/office/powerpoint/2016/6/main">
                        <a:blip r:embed="rId3"/>
                        <a:stretch>
                          <a:fillRect/>
                        </a:stretch>
                      </p166:blipFill>
                      <p166:spPr xmlns:p166="http://schemas.microsoft.com/office/powerpoint/2016/6/main">
                        <a:xfrm>
                          <a:off x="454960" y="115917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166:spPr>
                    </psuz:zmPr>
                  </psuz:summaryZmObj>
                  <psuz:summaryZmObj sectionId="{DEC26935-0E96-49E4-8490-D49013EAB72F}">
                    <psuz:zmPr id="{6E4779A8-5F49-494A-A03A-B005CD3AEB81}" transitionDur="1000">
                      <p166:blipFill xmlns:p166="http://schemas.microsoft.com/office/powerpoint/2016/6/main">
                        <a:blip r:embed="rId4"/>
                        <a:stretch>
                          <a:fillRect/>
                        </a:stretch>
                      </p166:blipFill>
                      <p166:spPr xmlns:p166="http://schemas.microsoft.com/office/powerpoint/2016/6/main">
                        <a:xfrm>
                          <a:off x="4109313" y="115917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166:spPr>
                    </psuz:zmPr>
                  </psuz:summaryZmObj>
                  <psuz:summaryZmObj sectionId="{10AF6C43-93CF-428E-B835-11784DBFF5B4}">
                    <psuz:zmPr id="{0FAC116C-9EA2-4B80-80F4-03A952A7DFC0}" transitionDur="1000">
                      <p166:blipFill xmlns:p166="http://schemas.microsoft.com/office/powerpoint/2016/6/main">
                        <a:blip r:embed="rId5"/>
                        <a:stretch>
                          <a:fillRect/>
                        </a:stretch>
                      </p166:blipFill>
                      <p166:spPr xmlns:p166="http://schemas.microsoft.com/office/powerpoint/2016/6/main">
                        <a:xfrm>
                          <a:off x="7763666" y="115917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166:spPr>
                    </psuz:zmPr>
                  </psuz:summaryZmObj>
                  <psuz:summaryZmObj sectionId="{A0FEB939-748D-4B99-B0C1-C20B590FC268}">
                    <psuz:zmPr id="{E53CE149-C384-4A1A-AF6F-FBE5BFCBF9D2}" transitionDur="1000">
                      <p166:blipFill xmlns:p166="http://schemas.microsoft.com/office/powerpoint/2016/6/main">
                        <a:blip r:embed="rId6"/>
                        <a:stretch>
                          <a:fillRect/>
                        </a:stretch>
                      </p166:blipFill>
                      <p166:spPr xmlns:p166="http://schemas.microsoft.com/office/powerpoint/2016/6/main">
                        <a:xfrm>
                          <a:off x="454960" y="327253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166:spPr>
                    </psuz:zmPr>
                  </psuz:summaryZmObj>
                  <psuz:summaryZmObj sectionId="{137BA990-278C-40C1-87BD-E55572F7815A}">
                    <psuz:zmPr id="{888D1AC0-13C3-4F16-8AC2-675A3958ABD2}" transitionDur="1000">
                      <p166:blipFill xmlns:p166="http://schemas.microsoft.com/office/powerpoint/2016/6/main">
                        <a:blip r:embed="rId7"/>
                        <a:stretch>
                          <a:fillRect/>
                        </a:stretch>
                      </p166:blipFill>
                      <p166:spPr xmlns:p166="http://schemas.microsoft.com/office/powerpoint/2016/6/main">
                        <a:xfrm>
                          <a:off x="4109313" y="327253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166:spPr>
                    </psuz:zmPr>
                  </psuz:summaryZmObj>
                  <psuz:summaryZmObj sectionId="{771FE6B4-423B-454F-A7A5-9E50C8DF0A72}">
                    <psuz:zmPr id="{11609776-8749-4E90-A735-125BBD55EE2D}" transitionDur="1000">
                      <p166:blipFill xmlns:p166="http://schemas.microsoft.com/office/powerpoint/2016/6/main">
                        <a:blip r:embed="rId8"/>
                        <a:stretch>
                          <a:fillRect/>
                        </a:stretch>
                      </p166:blipFill>
                      <p166:spPr xmlns:p166="http://schemas.microsoft.com/office/powerpoint/2016/6/main">
                        <a:xfrm>
                          <a:off x="7763666" y="327253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166:spPr>
                    </psuz:zmPr>
                  </psuz:summaryZmObj>
                  <psuz:gridLayout/>
                </psuz:summaryZm>
              </a:graphicData>
            </a:graphic>
          </p:graphicFrame>
        </mc:Choice>
        <mc:Fallback>
          <p:grpSp>
            <p:nvGrpSpPr>
              <p:cNvPr id="5" name="Overzichtzoom 4">
                <a:extLst>
                  <a:ext uri="{FF2B5EF4-FFF2-40B4-BE49-F238E27FC236}">
                    <a16:creationId xmlns:a16="http://schemas.microsoft.com/office/drawing/2014/main" id="{7C937D0D-8776-3C33-ADCC-4E1E9B81890A}"/>
                  </a:ext>
                </a:extLst>
              </p:cNvPr>
              <p:cNvGrpSpPr>
                <a:grpSpLocks noGrp="1" noUngrp="1" noRot="1" noChangeAspect="1" noMove="1" noResize="1"/>
              </p:cNvGrpSpPr>
              <p:nvPr/>
            </p:nvGrpSpPr>
            <p:grpSpPr>
              <a:xfrm>
                <a:off x="231648" y="0"/>
                <a:ext cx="11740895" cy="6412992"/>
                <a:chOff x="231648" y="0"/>
                <a:chExt cx="11740895" cy="6412992"/>
              </a:xfrm>
            </p:grpSpPr>
            <p:pic>
              <p:nvPicPr>
                <p:cNvPr id="2" name="Picture 2">
                  <a:hlinkClick r:id="rId9"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686608" y="115917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3" name="Picture 3">
                  <a:hlinkClick r:id="rId10"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4340961" y="115917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4" name="Picture 4">
                  <a:hlinkClick r:id="rId11"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7995314" y="115917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6" name="Picture 6">
                  <a:hlinkClick r:id="rId12"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686608" y="327253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7" name="Picture 7">
                  <a:hlinkClick r:id="rId13"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4340961" y="327253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8" name="Picture 8">
                  <a:hlinkClick r:id="rId14"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7995314" y="3272538"/>
                  <a:ext cx="3522268" cy="198127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grpSp>
        </mc:Fallback>
      </mc:AlternateContent>
    </p:spTree>
    <p:extLst>
      <p:ext uri="{BB962C8B-B14F-4D97-AF65-F5344CB8AC3E}">
        <p14:creationId xmlns:p14="http://schemas.microsoft.com/office/powerpoint/2010/main" val="4129734412"/>
      </p:ext>
    </p:extLst>
  </p:cSld>
  <p:clrMapOvr>
    <a:masterClrMapping/>
  </p:clrMapOvr>
  <p:transition spd="slow">
    <p:push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DE7213D3-AC51-0C84-B976-32AC5B92013B}"/>
              </a:ext>
            </a:extLst>
          </p:cNvPr>
          <p:cNvPicPr>
            <a:picLocks noChangeAspect="1"/>
          </p:cNvPicPr>
          <p:nvPr/>
        </p:nvPicPr>
        <p:blipFill>
          <a:blip r:embed="rId3" cstate="email">
            <a:duotone>
              <a:srgbClr val="E48312">
                <a:shade val="45000"/>
                <a:satMod val="135000"/>
              </a:srgbClr>
              <a:prstClr val="white"/>
            </a:duotone>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a:ext>
            </a:extLst>
          </a:blip>
          <a:stretch>
            <a:fillRect/>
          </a:stretch>
        </p:blipFill>
        <p:spPr>
          <a:xfrm>
            <a:off x="2401824" y="1135464"/>
            <a:ext cx="8692896" cy="4511064"/>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 name="Title 1">
            <a:extLst>
              <a:ext uri="{FF2B5EF4-FFF2-40B4-BE49-F238E27FC236}">
                <a16:creationId xmlns:a16="http://schemas.microsoft.com/office/drawing/2014/main" id="{EB9F34BF-FC67-1125-A059-F89DC7D4330A}"/>
              </a:ext>
            </a:extLst>
          </p:cNvPr>
          <p:cNvSpPr>
            <a:spLocks noGrp="1"/>
          </p:cNvSpPr>
          <p:nvPr>
            <p:ph type="title"/>
          </p:nvPr>
        </p:nvSpPr>
        <p:spPr/>
        <p:txBody>
          <a:bodyPr/>
          <a:lstStyle/>
          <a:p>
            <a:r>
              <a:rPr lang="nl-BE" dirty="0"/>
              <a:t>Images </a:t>
            </a:r>
            <a:r>
              <a:rPr lang="nl-BE" dirty="0" err="1"/>
              <a:t>illustrated</a:t>
            </a:r>
            <a:endParaRPr lang="en-GB" dirty="0"/>
          </a:p>
        </p:txBody>
      </p:sp>
      <p:sp>
        <p:nvSpPr>
          <p:cNvPr id="3" name="Content Placeholder 2">
            <a:extLst>
              <a:ext uri="{FF2B5EF4-FFF2-40B4-BE49-F238E27FC236}">
                <a16:creationId xmlns:a16="http://schemas.microsoft.com/office/drawing/2014/main" id="{96436F06-5390-934D-BBFE-5460F677273E}"/>
              </a:ext>
            </a:extLst>
          </p:cNvPr>
          <p:cNvSpPr>
            <a:spLocks noGrp="1"/>
          </p:cNvSpPr>
          <p:nvPr>
            <p:ph idx="1"/>
          </p:nvPr>
        </p:nvSpPr>
        <p:spPr>
          <a:solidFill>
            <a:schemeClr val="accent1">
              <a:lumMod val="20000"/>
              <a:lumOff val="80000"/>
              <a:alpha val="49000"/>
            </a:schemeClr>
          </a:solidFill>
        </p:spPr>
        <p:txBody>
          <a:bodyPr anchor="ctr"/>
          <a:lstStyle/>
          <a:p>
            <a:r>
              <a:rPr lang="nl-BE" dirty="0" err="1"/>
              <a:t>Retouch</a:t>
            </a:r>
            <a:r>
              <a:rPr lang="nl-BE" dirty="0"/>
              <a:t> / </a:t>
            </a:r>
            <a:r>
              <a:rPr lang="nl-BE" dirty="0" err="1"/>
              <a:t>sharpen</a:t>
            </a:r>
            <a:r>
              <a:rPr lang="nl-BE" dirty="0"/>
              <a:t> tools</a:t>
            </a:r>
          </a:p>
          <a:p>
            <a:r>
              <a:rPr lang="nl-BE" dirty="0"/>
              <a:t>Reset</a:t>
            </a:r>
          </a:p>
          <a:p>
            <a:r>
              <a:rPr lang="en-GB" dirty="0"/>
              <a:t>Resolution</a:t>
            </a:r>
          </a:p>
          <a:p>
            <a:r>
              <a:rPr lang="en-GB" dirty="0"/>
              <a:t>Types</a:t>
            </a:r>
          </a:p>
        </p:txBody>
      </p:sp>
      <p:pic>
        <p:nvPicPr>
          <p:cNvPr id="4" name="Afbeelding 1">
            <a:extLst>
              <a:ext uri="{FF2B5EF4-FFF2-40B4-BE49-F238E27FC236}">
                <a16:creationId xmlns:a16="http://schemas.microsoft.com/office/drawing/2014/main" id="{F50E7FFA-B6DB-5587-195B-6B577A4FA434}"/>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10000" b="90000" l="10000" r="90000"/>
                    </a14:imgEffect>
                  </a14:imgLayer>
                </a14:imgProps>
              </a:ext>
            </a:extLst>
          </a:blip>
          <a:srcRect l="28962" t="8458" r="29284" b="8787"/>
          <a:stretch/>
        </p:blipFill>
        <p:spPr>
          <a:xfrm>
            <a:off x="7513530" y="1598579"/>
            <a:ext cx="2514047" cy="3660841"/>
          </a:xfrm>
          <a:prstGeom prst="rect">
            <a:avLst/>
          </a:prstGeom>
        </p:spPr>
      </p:pic>
    </p:spTree>
    <p:extLst>
      <p:ext uri="{BB962C8B-B14F-4D97-AF65-F5344CB8AC3E}">
        <p14:creationId xmlns:p14="http://schemas.microsoft.com/office/powerpoint/2010/main" val="3972190166"/>
      </p:ext>
    </p:extLst>
  </p:cSld>
  <p:clrMapOvr>
    <a:masterClrMapping/>
  </p:clrMapOvr>
  <p:transition spd="slow">
    <p:push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68CD77F-FA19-C05F-EC36-FC0464853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8215" y="-883853"/>
            <a:ext cx="13226143" cy="8770069"/>
          </a:xfrm>
          <a:prstGeom prst="rect">
            <a:avLst/>
          </a:prstGeom>
        </p:spPr>
      </p:pic>
      <p:sp>
        <p:nvSpPr>
          <p:cNvPr id="4" name="TextBox 3">
            <a:extLst>
              <a:ext uri="{FF2B5EF4-FFF2-40B4-BE49-F238E27FC236}">
                <a16:creationId xmlns:a16="http://schemas.microsoft.com/office/drawing/2014/main" id="{5E034AAF-4C6E-E2E5-9586-6F97C90436EA}"/>
              </a:ext>
            </a:extLst>
          </p:cNvPr>
          <p:cNvSpPr txBox="1"/>
          <p:nvPr/>
        </p:nvSpPr>
        <p:spPr>
          <a:xfrm>
            <a:off x="2720236" y="3044280"/>
            <a:ext cx="6868099" cy="769441"/>
          </a:xfrm>
          <a:prstGeom prst="rect">
            <a:avLst/>
          </a:prstGeom>
          <a:gradFill flip="none" rotWithShape="1">
            <a:gsLst>
              <a:gs pos="0">
                <a:schemeClr val="accent1">
                  <a:lumMod val="5000"/>
                  <a:lumOff val="95000"/>
                  <a:alpha val="90000"/>
                </a:schemeClr>
              </a:gs>
              <a:gs pos="100000">
                <a:schemeClr val="accent1">
                  <a:lumMod val="30000"/>
                  <a:lumOff val="70000"/>
                </a:schemeClr>
              </a:gs>
            </a:gsLst>
            <a:path path="circle">
              <a:fillToRect l="50000" t="50000" r="50000" b="50000"/>
            </a:path>
            <a:tileRect/>
          </a:gradFill>
          <a:ln w="28575">
            <a:solidFill>
              <a:schemeClr val="accent1">
                <a:lumMod val="50000"/>
                <a:alpha val="70000"/>
              </a:schemeClr>
            </a:solidFill>
          </a:ln>
        </p:spPr>
        <p:txBody>
          <a:bodyPr wrap="none" rtlCol="0">
            <a:spAutoFit/>
          </a:bodyPr>
          <a:lstStyle/>
          <a:p>
            <a:r>
              <a:rPr lang="nl-BE" sz="4400" b="1" dirty="0" err="1">
                <a:solidFill>
                  <a:schemeClr val="accent3">
                    <a:lumMod val="50000"/>
                  </a:schemeClr>
                </a:solidFill>
              </a:rPr>
              <a:t>Let’s</a:t>
            </a:r>
            <a:r>
              <a:rPr lang="nl-BE" sz="4400" b="1" dirty="0">
                <a:solidFill>
                  <a:schemeClr val="accent3">
                    <a:lumMod val="50000"/>
                  </a:schemeClr>
                </a:solidFill>
              </a:rPr>
              <a:t> </a:t>
            </a:r>
            <a:r>
              <a:rPr lang="nl-BE" sz="4400" b="1" dirty="0" err="1">
                <a:solidFill>
                  <a:schemeClr val="accent3">
                    <a:lumMod val="50000"/>
                  </a:schemeClr>
                </a:solidFill>
              </a:rPr>
              <a:t>reconsider</a:t>
            </a:r>
            <a:r>
              <a:rPr lang="nl-BE" sz="4400" b="1" dirty="0">
                <a:solidFill>
                  <a:schemeClr val="accent3">
                    <a:lumMod val="50000"/>
                  </a:schemeClr>
                </a:solidFill>
              </a:rPr>
              <a:t> </a:t>
            </a:r>
            <a:r>
              <a:rPr lang="nl-BE" sz="4400" b="1" dirty="0" err="1">
                <a:solidFill>
                  <a:schemeClr val="accent3">
                    <a:lumMod val="50000"/>
                  </a:schemeClr>
                </a:solidFill>
              </a:rPr>
              <a:t>the</a:t>
            </a:r>
            <a:r>
              <a:rPr lang="nl-BE" sz="4400" b="1" dirty="0">
                <a:solidFill>
                  <a:schemeClr val="accent3">
                    <a:lumMod val="50000"/>
                  </a:schemeClr>
                </a:solidFill>
              </a:rPr>
              <a:t> </a:t>
            </a:r>
            <a:r>
              <a:rPr lang="nl-BE" sz="4400" b="1" dirty="0" err="1">
                <a:solidFill>
                  <a:schemeClr val="accent3">
                    <a:lumMod val="50000"/>
                  </a:schemeClr>
                </a:solidFill>
              </a:rPr>
              <a:t>problem</a:t>
            </a:r>
            <a:endParaRPr lang="en-GB" sz="4400" b="1" dirty="0">
              <a:solidFill>
                <a:schemeClr val="accent3">
                  <a:lumMod val="50000"/>
                </a:schemeClr>
              </a:solidFill>
            </a:endParaRPr>
          </a:p>
        </p:txBody>
      </p:sp>
    </p:spTree>
    <p:extLst>
      <p:ext uri="{BB962C8B-B14F-4D97-AF65-F5344CB8AC3E}">
        <p14:creationId xmlns:p14="http://schemas.microsoft.com/office/powerpoint/2010/main" val="30504688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10507D-31E0-508E-C470-4565DA50FEE4}"/>
              </a:ext>
            </a:extLst>
          </p:cNvPr>
          <p:cNvSpPr>
            <a:spLocks noGrp="1"/>
          </p:cNvSpPr>
          <p:nvPr>
            <p:ph type="title"/>
          </p:nvPr>
        </p:nvSpPr>
        <p:spPr/>
        <p:txBody>
          <a:bodyPr/>
          <a:lstStyle/>
          <a:p>
            <a:r>
              <a:rPr lang="nl-BE" dirty="0"/>
              <a:t>Image formats </a:t>
            </a:r>
            <a:r>
              <a:rPr lang="nl-BE" dirty="0" err="1"/>
              <a:t>for</a:t>
            </a:r>
            <a:r>
              <a:rPr lang="nl-BE" dirty="0"/>
              <a:t> PWP</a:t>
            </a:r>
          </a:p>
        </p:txBody>
      </p:sp>
      <p:sp>
        <p:nvSpPr>
          <p:cNvPr id="4" name="Content Placeholder 3">
            <a:extLst>
              <a:ext uri="{FF2B5EF4-FFF2-40B4-BE49-F238E27FC236}">
                <a16:creationId xmlns:a16="http://schemas.microsoft.com/office/drawing/2014/main" id="{D94B6288-4BAA-03AF-7E88-0F6C3562D564}"/>
              </a:ext>
            </a:extLst>
          </p:cNvPr>
          <p:cNvSpPr>
            <a:spLocks noGrp="1"/>
          </p:cNvSpPr>
          <p:nvPr>
            <p:ph idx="1"/>
          </p:nvPr>
        </p:nvSpPr>
        <p:spPr/>
        <p:txBody>
          <a:bodyPr/>
          <a:lstStyle/>
          <a:p>
            <a:endParaRPr lang="en-GB"/>
          </a:p>
        </p:txBody>
      </p:sp>
      <p:pic>
        <p:nvPicPr>
          <p:cNvPr id="6" name="table">
            <a:extLst>
              <a:ext uri="{FF2B5EF4-FFF2-40B4-BE49-F238E27FC236}">
                <a16:creationId xmlns:a16="http://schemas.microsoft.com/office/drawing/2014/main" id="{42D45CE3-23D1-ED3D-D4F0-0A19C0F4B56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66801" y="1242461"/>
            <a:ext cx="10058397" cy="4541520"/>
          </a:xfrm>
          <a:prstGeom prst="rect">
            <a:avLst/>
          </a:prstGeom>
        </p:spPr>
      </p:pic>
    </p:spTree>
    <p:extLst>
      <p:ext uri="{BB962C8B-B14F-4D97-AF65-F5344CB8AC3E}">
        <p14:creationId xmlns:p14="http://schemas.microsoft.com/office/powerpoint/2010/main" val="2233938455"/>
      </p:ext>
    </p:extLst>
  </p:cSld>
  <p:clrMapOvr>
    <a:masterClrMapping/>
  </p:clrMapOvr>
  <p:transition spd="slow">
    <p:push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err="1"/>
              <a:t>Integrating</a:t>
            </a:r>
            <a:r>
              <a:rPr lang="nl-BE" dirty="0"/>
              <a:t> Excel </a:t>
            </a:r>
            <a:r>
              <a:rPr lang="nl-BE" dirty="0" err="1"/>
              <a:t>Charts</a:t>
            </a:r>
            <a:endParaRPr lang="fr-BE" dirty="0"/>
          </a:p>
        </p:txBody>
      </p:sp>
      <p:graphicFrame>
        <p:nvGraphicFramePr>
          <p:cNvPr id="6" name="Chart 5">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2471654758"/>
              </p:ext>
            </p:extLst>
          </p:nvPr>
        </p:nvGraphicFramePr>
        <p:xfrm>
          <a:off x="2901176" y="1499839"/>
          <a:ext cx="6389648" cy="385832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96232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15F49-53CB-B331-FFE8-224D23644D18}"/>
              </a:ext>
            </a:extLst>
          </p:cNvPr>
          <p:cNvSpPr>
            <a:spLocks noGrp="1"/>
          </p:cNvSpPr>
          <p:nvPr>
            <p:ph type="title"/>
          </p:nvPr>
        </p:nvSpPr>
        <p:spPr/>
        <p:txBody>
          <a:bodyPr/>
          <a:lstStyle/>
          <a:p>
            <a:r>
              <a:rPr lang="en-GB" dirty="0"/>
              <a:t>Animations</a:t>
            </a:r>
          </a:p>
        </p:txBody>
      </p:sp>
      <p:sp>
        <p:nvSpPr>
          <p:cNvPr id="3" name="Content Placeholder 2">
            <a:extLst>
              <a:ext uri="{FF2B5EF4-FFF2-40B4-BE49-F238E27FC236}">
                <a16:creationId xmlns:a16="http://schemas.microsoft.com/office/drawing/2014/main" id="{6ADA35D9-5B91-FAB6-40FD-B5E6D0438552}"/>
              </a:ext>
            </a:extLst>
          </p:cNvPr>
          <p:cNvSpPr>
            <a:spLocks noGrp="1"/>
          </p:cNvSpPr>
          <p:nvPr>
            <p:ph idx="1"/>
          </p:nvPr>
        </p:nvSpPr>
        <p:spPr/>
        <p:txBody>
          <a:bodyPr/>
          <a:lstStyle/>
          <a:p>
            <a:r>
              <a:rPr lang="en-GB" dirty="0"/>
              <a:t>Slide transitions</a:t>
            </a:r>
          </a:p>
          <a:p>
            <a:r>
              <a:rPr lang="en-GB" dirty="0"/>
              <a:t>Animating objects</a:t>
            </a:r>
          </a:p>
          <a:p>
            <a:r>
              <a:rPr lang="en-GB" dirty="0"/>
              <a:t>Links and action buttons</a:t>
            </a:r>
          </a:p>
          <a:p>
            <a:endParaRPr lang="en-GB" dirty="0"/>
          </a:p>
        </p:txBody>
      </p:sp>
    </p:spTree>
    <p:extLst>
      <p:ext uri="{BB962C8B-B14F-4D97-AF65-F5344CB8AC3E}">
        <p14:creationId xmlns:p14="http://schemas.microsoft.com/office/powerpoint/2010/main" val="36454418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15F49-53CB-B331-FFE8-224D23644D18}"/>
              </a:ext>
            </a:extLst>
          </p:cNvPr>
          <p:cNvSpPr>
            <a:spLocks noGrp="1"/>
          </p:cNvSpPr>
          <p:nvPr>
            <p:ph type="title"/>
          </p:nvPr>
        </p:nvSpPr>
        <p:spPr/>
        <p:txBody>
          <a:bodyPr/>
          <a:lstStyle/>
          <a:p>
            <a:r>
              <a:rPr lang="en-GB" dirty="0"/>
              <a:t>Animations</a:t>
            </a:r>
          </a:p>
        </p:txBody>
      </p:sp>
      <p:graphicFrame>
        <p:nvGraphicFramePr>
          <p:cNvPr id="4" name="Tijdelijke aanduiding voor inhoud 3">
            <a:extLst>
              <a:ext uri="{FF2B5EF4-FFF2-40B4-BE49-F238E27FC236}">
                <a16:creationId xmlns:a16="http://schemas.microsoft.com/office/drawing/2014/main" id="{6E603E81-63EE-A209-E52E-8744BE5965C4}"/>
              </a:ext>
            </a:extLst>
          </p:cNvPr>
          <p:cNvGraphicFramePr>
            <a:graphicFrameLocks noGrp="1"/>
          </p:cNvGraphicFramePr>
          <p:nvPr>
            <p:ph idx="1"/>
            <p:extLst>
              <p:ext uri="{D42A27DB-BD31-4B8C-83A1-F6EECF244321}">
                <p14:modId xmlns:p14="http://schemas.microsoft.com/office/powerpoint/2010/main" val="4029531547"/>
              </p:ext>
            </p:extLst>
          </p:nvPr>
        </p:nvGraphicFramePr>
        <p:xfrm>
          <a:off x="4329299" y="217331"/>
          <a:ext cx="7641027" cy="58958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45206423"/>
      </p:ext>
    </p:extLst>
  </p:cSld>
  <p:clrMapOvr>
    <a:masterClrMapping/>
  </p:clrMapOvr>
  <p:transition spd="slow">
    <p:push dir="r"/>
  </p:transition>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C80A3-8488-AED3-348F-8812AC618DDA}"/>
              </a:ext>
            </a:extLst>
          </p:cNvPr>
          <p:cNvSpPr>
            <a:spLocks noGrp="1"/>
          </p:cNvSpPr>
          <p:nvPr>
            <p:ph type="title"/>
          </p:nvPr>
        </p:nvSpPr>
        <p:spPr/>
        <p:txBody>
          <a:bodyPr/>
          <a:lstStyle/>
          <a:p>
            <a:r>
              <a:rPr lang="en-GB" dirty="0"/>
              <a:t>Doing the presentation</a:t>
            </a:r>
          </a:p>
        </p:txBody>
      </p:sp>
      <p:sp>
        <p:nvSpPr>
          <p:cNvPr id="3" name="Content Placeholder 2">
            <a:extLst>
              <a:ext uri="{FF2B5EF4-FFF2-40B4-BE49-F238E27FC236}">
                <a16:creationId xmlns:a16="http://schemas.microsoft.com/office/drawing/2014/main" id="{994FCEC5-2341-C6AB-F019-DE3795E0BF9A}"/>
              </a:ext>
            </a:extLst>
          </p:cNvPr>
          <p:cNvSpPr>
            <a:spLocks noGrp="1"/>
          </p:cNvSpPr>
          <p:nvPr>
            <p:ph idx="1"/>
          </p:nvPr>
        </p:nvSpPr>
        <p:spPr/>
        <p:txBody>
          <a:bodyPr/>
          <a:lstStyle/>
          <a:p>
            <a:r>
              <a:rPr lang="en-GB" dirty="0"/>
              <a:t>Slide show view</a:t>
            </a:r>
          </a:p>
          <a:p>
            <a:r>
              <a:rPr lang="en-GB" dirty="0"/>
              <a:t>Presenter view use</a:t>
            </a:r>
          </a:p>
          <a:p>
            <a:r>
              <a:rPr lang="en-GB" dirty="0"/>
              <a:t>Hiding slides</a:t>
            </a:r>
          </a:p>
          <a:p>
            <a:r>
              <a:rPr lang="en-GB" dirty="0"/>
              <a:t>Custom shows</a:t>
            </a:r>
          </a:p>
          <a:p>
            <a:r>
              <a:rPr lang="en-GB" dirty="0"/>
              <a:t>Printing the presentation</a:t>
            </a:r>
          </a:p>
          <a:p>
            <a:r>
              <a:rPr lang="en-GB" dirty="0"/>
              <a:t>Export the presentation</a:t>
            </a:r>
          </a:p>
          <a:p>
            <a:r>
              <a:rPr lang="en-GB" dirty="0"/>
              <a:t>Notes</a:t>
            </a:r>
          </a:p>
        </p:txBody>
      </p:sp>
    </p:spTree>
    <p:extLst>
      <p:ext uri="{BB962C8B-B14F-4D97-AF65-F5344CB8AC3E}">
        <p14:creationId xmlns:p14="http://schemas.microsoft.com/office/powerpoint/2010/main" val="1307994658"/>
      </p:ext>
    </p:extLst>
  </p:cSld>
  <p:clrMapOvr>
    <a:masterClrMapping/>
  </p:clrMapOvr>
  <p:transition spd="slow">
    <p:push dir="r"/>
  </p:transition>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
                                            <p:txEl>
                                              <p:pRg st="0" end="0"/>
                                            </p:txEl>
                                          </p:spTgt>
                                        </p:tgtEl>
                                        <p:attrNameLst>
                                          <p:attrName>ppt_c</p:attrName>
                                        </p:attrNameLst>
                                      </p:cBhvr>
                                      <p:to>
                                        <a:srgbClr val="F7CA93"/>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
                                            <p:txEl>
                                              <p:pRg st="1" end="1"/>
                                            </p:txEl>
                                          </p:spTgt>
                                        </p:tgtEl>
                                        <p:attrNameLst>
                                          <p:attrName>ppt_c</p:attrName>
                                        </p:attrNameLst>
                                      </p:cBhvr>
                                      <p:to>
                                        <a:srgbClr val="F7CA93"/>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
                                            <p:txEl>
                                              <p:pRg st="2" end="2"/>
                                            </p:txEl>
                                          </p:spTgt>
                                        </p:tgtEl>
                                        <p:attrNameLst>
                                          <p:attrName>ppt_c</p:attrName>
                                        </p:attrNameLst>
                                      </p:cBhvr>
                                      <p:to>
                                        <a:srgbClr val="F7CA93"/>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
                                            <p:txEl>
                                              <p:pRg st="3" end="3"/>
                                            </p:txEl>
                                          </p:spTgt>
                                        </p:tgtEl>
                                        <p:attrNameLst>
                                          <p:attrName>ppt_c</p:attrName>
                                        </p:attrNameLst>
                                      </p:cBhvr>
                                      <p:to>
                                        <a:srgbClr val="F7CA93"/>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
                                            <p:txEl>
                                              <p:pRg st="4" end="4"/>
                                            </p:txEl>
                                          </p:spTgt>
                                        </p:tgtEl>
                                        <p:attrNameLst>
                                          <p:attrName>ppt_c</p:attrName>
                                        </p:attrNameLst>
                                      </p:cBhvr>
                                      <p:to>
                                        <a:srgbClr val="F7CA93"/>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
                                            <p:txEl>
                                              <p:pRg st="5" end="5"/>
                                            </p:txEl>
                                          </p:spTgt>
                                        </p:tgtEl>
                                        <p:attrNameLst>
                                          <p:attrName>ppt_c</p:attrName>
                                        </p:attrNameLst>
                                      </p:cBhvr>
                                      <p:to>
                                        <a:srgbClr val="F7CA93"/>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3">
                                            <p:txEl>
                                              <p:pRg st="6" end="6"/>
                                            </p:txEl>
                                          </p:spTgt>
                                        </p:tgtEl>
                                        <p:attrNameLst>
                                          <p:attrName>ppt_c</p:attrName>
                                        </p:attrNameLst>
                                      </p:cBhvr>
                                      <p:to>
                                        <a:srgbClr val="F7CA93"/>
                                      </p:to>
                                    </p:animClr>
                                  </p:subTnLst>
                                </p:cTn>
                              </p:par>
                            </p:childTnLst>
                          </p:cTn>
                        </p:par>
                      </p:childTnLst>
                    </p:cTn>
                  </p:par>
                </p:childTnLst>
              </p:cTn>
              <p:nextCondLst>
                <p:cond evt="onClick" delay="0">
                  <p:tgtEl>
                    <p:spTgt spid="2"/>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C80A3-8488-AED3-348F-8812AC618DDA}"/>
              </a:ext>
            </a:extLst>
          </p:cNvPr>
          <p:cNvSpPr>
            <a:spLocks noGrp="1"/>
          </p:cNvSpPr>
          <p:nvPr>
            <p:ph type="title"/>
          </p:nvPr>
        </p:nvSpPr>
        <p:spPr/>
        <p:txBody>
          <a:bodyPr/>
          <a:lstStyle/>
          <a:p>
            <a:r>
              <a:rPr lang="en-GB" dirty="0"/>
              <a:t>Doing the presentation – with icons</a:t>
            </a:r>
          </a:p>
        </p:txBody>
      </p:sp>
      <p:graphicFrame>
        <p:nvGraphicFramePr>
          <p:cNvPr id="4" name="Content Placeholder 3">
            <a:extLst>
              <a:ext uri="{FF2B5EF4-FFF2-40B4-BE49-F238E27FC236}">
                <a16:creationId xmlns:a16="http://schemas.microsoft.com/office/drawing/2014/main" id="{AE349C7B-5237-A208-D824-31665A05DAE4}"/>
              </a:ext>
            </a:extLst>
          </p:cNvPr>
          <p:cNvGraphicFramePr>
            <a:graphicFrameLocks noGrp="1"/>
          </p:cNvGraphicFramePr>
          <p:nvPr>
            <p:ph idx="1"/>
            <p:extLst>
              <p:ext uri="{D42A27DB-BD31-4B8C-83A1-F6EECF244321}">
                <p14:modId xmlns:p14="http://schemas.microsoft.com/office/powerpoint/2010/main" val="537224271"/>
              </p:ext>
            </p:extLst>
          </p:nvPr>
        </p:nvGraphicFramePr>
        <p:xfrm>
          <a:off x="1097280" y="1453495"/>
          <a:ext cx="10058400" cy="44155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6241116"/>
      </p:ext>
    </p:extLst>
  </p:cSld>
  <p:clrMapOvr>
    <a:masterClrMapping/>
  </p:clrMapOvr>
  <p:transition spd="slow">
    <p:push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F7ACC7-9748-CFE5-7503-E4B15C3E716F}"/>
              </a:ext>
            </a:extLst>
          </p:cNvPr>
          <p:cNvSpPr>
            <a:spLocks noGrp="1"/>
          </p:cNvSpPr>
          <p:nvPr>
            <p:ph type="title"/>
          </p:nvPr>
        </p:nvSpPr>
        <p:spPr/>
        <p:txBody>
          <a:bodyPr/>
          <a:lstStyle/>
          <a:p>
            <a:r>
              <a:rPr lang="nl-BE" dirty="0" err="1"/>
              <a:t>Practice</a:t>
            </a:r>
            <a:r>
              <a:rPr lang="nl-BE" dirty="0"/>
              <a:t> </a:t>
            </a:r>
            <a:r>
              <a:rPr lang="nl-BE" dirty="0" err="1"/>
              <a:t>makes</a:t>
            </a:r>
            <a:r>
              <a:rPr lang="nl-BE" dirty="0"/>
              <a:t> …</a:t>
            </a:r>
            <a:endParaRPr lang="en-GB" dirty="0"/>
          </a:p>
        </p:txBody>
      </p:sp>
      <p:sp>
        <p:nvSpPr>
          <p:cNvPr id="5" name="Text Placeholder 4">
            <a:extLst>
              <a:ext uri="{FF2B5EF4-FFF2-40B4-BE49-F238E27FC236}">
                <a16:creationId xmlns:a16="http://schemas.microsoft.com/office/drawing/2014/main" id="{EB57F4C4-8646-591E-56C1-1C3CB9B7A3B9}"/>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19248024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D19F27-A0E8-0D9A-34A8-38B4FF3A2E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64D19F27-A0E8-0D9A-34A8-38B4FF3A2E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62B2E7-3FE0-77FF-28AB-119B38A86EC0}"/>
              </a:ext>
            </a:extLst>
          </p:cNvPr>
          <p:cNvSpPr>
            <a:spLocks noGrp="1"/>
          </p:cNvSpPr>
          <p:nvPr>
            <p:ph type="title"/>
          </p:nvPr>
        </p:nvSpPr>
        <p:spPr/>
        <p:txBody>
          <a:bodyPr vert="horz"/>
          <a:lstStyle/>
          <a:p>
            <a:r>
              <a:rPr lang="en-GB" dirty="0"/>
              <a:t>NPS?  </a:t>
            </a:r>
          </a:p>
        </p:txBody>
      </p:sp>
      <p:sp>
        <p:nvSpPr>
          <p:cNvPr id="10" name="Tijdelijke aanduiding voor inhoud 9">
            <a:extLst>
              <a:ext uri="{FF2B5EF4-FFF2-40B4-BE49-F238E27FC236}">
                <a16:creationId xmlns:a16="http://schemas.microsoft.com/office/drawing/2014/main" id="{C98F2DF1-AE08-35A1-631E-20D05F1A35C6}"/>
              </a:ext>
            </a:extLst>
          </p:cNvPr>
          <p:cNvSpPr>
            <a:spLocks noGrp="1"/>
          </p:cNvSpPr>
          <p:nvPr>
            <p:ph idx="1"/>
          </p:nvPr>
        </p:nvSpPr>
        <p:spPr/>
        <p:txBody>
          <a:bodyPr>
            <a:normAutofit fontScale="92500" lnSpcReduction="10000"/>
          </a:bodyPr>
          <a:lstStyle/>
          <a:p>
            <a:r>
              <a:rPr lang="en-GB" dirty="0"/>
              <a:t>The Net Promoter Score or NPS is a customer experience measurement tool to assess customer satisfaction and loyalty to a company.</a:t>
            </a:r>
          </a:p>
          <a:p>
            <a:r>
              <a:rPr lang="en-GB" dirty="0"/>
              <a:t>“On a scale of 0 to 10, how likely would you recommend our company to your friends, family or colleagues?”</a:t>
            </a:r>
          </a:p>
          <a:p>
            <a:r>
              <a:rPr lang="en-GB" dirty="0"/>
              <a:t>Respondents give a score between 0 and 10 and then have the option to explain the given score</a:t>
            </a:r>
          </a:p>
          <a:p>
            <a:r>
              <a:rPr lang="en-GB" dirty="0"/>
              <a:t>The NPS divides respondents into "promoters" who provide ratings of 9 or 10, "passives" who provide ratings of 7 or 8, and "detractors" who provide ratings of 6 or lower. </a:t>
            </a:r>
          </a:p>
          <a:p>
            <a:r>
              <a:rPr lang="en-GB" dirty="0"/>
              <a:t>The net promoter score results subtracting the percentage of detractors from the percentage of promoters.</a:t>
            </a:r>
            <a:endParaRPr lang="nl-BE" dirty="0"/>
          </a:p>
        </p:txBody>
      </p:sp>
    </p:spTree>
    <p:extLst>
      <p:ext uri="{BB962C8B-B14F-4D97-AF65-F5344CB8AC3E}">
        <p14:creationId xmlns:p14="http://schemas.microsoft.com/office/powerpoint/2010/main" val="2840511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 calcmode="lin" valueType="num">
                                      <p:cBhvr additive="base">
                                        <p:cTn id="7" dur="5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10">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10">
                                            <p:txEl>
                                              <p:pRg st="0" end="0"/>
                                            </p:txEl>
                                          </p:spTgt>
                                        </p:tgtEl>
                                        <p:attrNameLst>
                                          <p:attrName>ppt_c</p:attrName>
                                        </p:attrNameLst>
                                      </p:cBhvr>
                                      <p:to>
                                        <a:srgbClr val="F7CA93"/>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0">
                                            <p:txEl>
                                              <p:pRg st="1" end="1"/>
                                            </p:txEl>
                                          </p:spTgt>
                                        </p:tgtEl>
                                        <p:attrNameLst>
                                          <p:attrName>style.visibility</p:attrName>
                                        </p:attrNameLst>
                                      </p:cBhvr>
                                      <p:to>
                                        <p:strVal val="visible"/>
                                      </p:to>
                                    </p:set>
                                    <p:anim calcmode="lin" valueType="num">
                                      <p:cBhvr additive="base">
                                        <p:cTn id="13" dur="500" fill="hold"/>
                                        <p:tgtEl>
                                          <p:spTgt spid="10">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10">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10">
                                            <p:txEl>
                                              <p:pRg st="1" end="1"/>
                                            </p:txEl>
                                          </p:spTgt>
                                        </p:tgtEl>
                                        <p:attrNameLst>
                                          <p:attrName>ppt_c</p:attrName>
                                        </p:attrNameLst>
                                      </p:cBhvr>
                                      <p:to>
                                        <a:srgbClr val="F7CA93"/>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 calcmode="lin" valueType="num">
                                      <p:cBhvr additive="base">
                                        <p:cTn id="19" dur="500" fill="hold"/>
                                        <p:tgtEl>
                                          <p:spTgt spid="10">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10">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10">
                                            <p:txEl>
                                              <p:pRg st="2" end="2"/>
                                            </p:txEl>
                                          </p:spTgt>
                                        </p:tgtEl>
                                        <p:attrNameLst>
                                          <p:attrName>ppt_c</p:attrName>
                                        </p:attrNameLst>
                                      </p:cBhvr>
                                      <p:to>
                                        <a:srgbClr val="F7CA93"/>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10">
                                            <p:txEl>
                                              <p:pRg st="3" end="3"/>
                                            </p:txEl>
                                          </p:spTgt>
                                        </p:tgtEl>
                                        <p:attrNameLst>
                                          <p:attrName>style.visibility</p:attrName>
                                        </p:attrNameLst>
                                      </p:cBhvr>
                                      <p:to>
                                        <p:strVal val="visible"/>
                                      </p:to>
                                    </p:set>
                                    <p:anim calcmode="lin" valueType="num">
                                      <p:cBhvr additive="base">
                                        <p:cTn id="25" dur="500" fill="hold"/>
                                        <p:tgtEl>
                                          <p:spTgt spid="10">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10">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10">
                                            <p:txEl>
                                              <p:pRg st="3" end="3"/>
                                            </p:txEl>
                                          </p:spTgt>
                                        </p:tgtEl>
                                        <p:attrNameLst>
                                          <p:attrName>ppt_c</p:attrName>
                                        </p:attrNameLst>
                                      </p:cBhvr>
                                      <p:to>
                                        <a:srgbClr val="F7CA93"/>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10">
                                            <p:txEl>
                                              <p:pRg st="4" end="4"/>
                                            </p:txEl>
                                          </p:spTgt>
                                        </p:tgtEl>
                                        <p:attrNameLst>
                                          <p:attrName>style.visibility</p:attrName>
                                        </p:attrNameLst>
                                      </p:cBhvr>
                                      <p:to>
                                        <p:strVal val="visible"/>
                                      </p:to>
                                    </p:set>
                                    <p:anim calcmode="lin" valueType="num">
                                      <p:cBhvr additive="base">
                                        <p:cTn id="31" dur="500" fill="hold"/>
                                        <p:tgtEl>
                                          <p:spTgt spid="10">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0">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10">
                                            <p:txEl>
                                              <p:pRg st="4" end="4"/>
                                            </p:txEl>
                                          </p:spTgt>
                                        </p:tgtEl>
                                        <p:attrNameLst>
                                          <p:attrName>ppt_c</p:attrName>
                                        </p:attrNameLst>
                                      </p:cBhvr>
                                      <p:to>
                                        <a:srgbClr val="F7CA93"/>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5A9FE-498E-6DF4-9016-E1A7DC3CA46A}"/>
              </a:ext>
            </a:extLst>
          </p:cNvPr>
          <p:cNvSpPr>
            <a:spLocks noGrp="1"/>
          </p:cNvSpPr>
          <p:nvPr>
            <p:ph type="title"/>
          </p:nvPr>
        </p:nvSpPr>
        <p:spPr/>
        <p:txBody>
          <a:bodyPr/>
          <a:lstStyle/>
          <a:p>
            <a:r>
              <a:rPr lang="en-GB" dirty="0"/>
              <a:t>Power to the Point</a:t>
            </a:r>
          </a:p>
        </p:txBody>
      </p:sp>
      <p:sp>
        <p:nvSpPr>
          <p:cNvPr id="4" name="Text Placeholder 3">
            <a:extLst>
              <a:ext uri="{FF2B5EF4-FFF2-40B4-BE49-F238E27FC236}">
                <a16:creationId xmlns:a16="http://schemas.microsoft.com/office/drawing/2014/main" id="{69D95C6F-9E9E-D7C0-F977-E333AE7D3196}"/>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1498155843"/>
      </p:ext>
    </p:extLst>
  </p:cSld>
  <p:clrMapOvr>
    <a:masterClrMapping/>
  </p:clrMapOvr>
  <p:transition spd="slow">
    <p:push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D19F27-A0E8-0D9A-34A8-38B4FF3A2E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64D19F27-A0E8-0D9A-34A8-38B4FF3A2E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62B2E7-3FE0-77FF-28AB-119B38A86EC0}"/>
              </a:ext>
            </a:extLst>
          </p:cNvPr>
          <p:cNvSpPr>
            <a:spLocks noGrp="1"/>
          </p:cNvSpPr>
          <p:nvPr>
            <p:ph type="title"/>
          </p:nvPr>
        </p:nvSpPr>
        <p:spPr/>
        <p:txBody>
          <a:bodyPr vert="horz">
            <a:normAutofit/>
          </a:bodyPr>
          <a:lstStyle/>
          <a:p>
            <a:r>
              <a:rPr lang="en-GB" dirty="0"/>
              <a:t>NPS: </a:t>
            </a:r>
            <a:r>
              <a:rPr lang="nl-NL" dirty="0"/>
              <a:t>Net </a:t>
            </a:r>
            <a:r>
              <a:rPr lang="nl-NL" dirty="0" err="1"/>
              <a:t>Promoter</a:t>
            </a:r>
            <a:r>
              <a:rPr lang="nl-NL" dirty="0"/>
              <a:t> Score</a:t>
            </a:r>
            <a:endParaRPr lang="en-GB" dirty="0"/>
          </a:p>
        </p:txBody>
      </p:sp>
      <p:sp>
        <p:nvSpPr>
          <p:cNvPr id="10" name="Tijdelijke aanduiding voor inhoud 9">
            <a:extLst>
              <a:ext uri="{FF2B5EF4-FFF2-40B4-BE49-F238E27FC236}">
                <a16:creationId xmlns:a16="http://schemas.microsoft.com/office/drawing/2014/main" id="{C98F2DF1-AE08-35A1-631E-20D05F1A35C6}"/>
              </a:ext>
            </a:extLst>
          </p:cNvPr>
          <p:cNvSpPr>
            <a:spLocks noGrp="1"/>
          </p:cNvSpPr>
          <p:nvPr>
            <p:ph idx="1"/>
          </p:nvPr>
        </p:nvSpPr>
        <p:spPr/>
        <p:txBody>
          <a:bodyPr/>
          <a:lstStyle/>
          <a:p>
            <a:r>
              <a:rPr lang="nl-NL" dirty="0"/>
              <a:t>An instrument </a:t>
            </a:r>
            <a:r>
              <a:rPr lang="nl-NL" dirty="0" err="1"/>
              <a:t>to</a:t>
            </a:r>
            <a:r>
              <a:rPr lang="nl-NL" dirty="0"/>
              <a:t> </a:t>
            </a:r>
            <a:r>
              <a:rPr lang="nl-NL" dirty="0" err="1"/>
              <a:t>measure</a:t>
            </a:r>
            <a:r>
              <a:rPr lang="nl-NL" dirty="0"/>
              <a:t> client </a:t>
            </a:r>
            <a:r>
              <a:rPr lang="nl-NL" dirty="0" err="1"/>
              <a:t>satisfaction</a:t>
            </a:r>
            <a:endParaRPr lang="nl-BE" dirty="0"/>
          </a:p>
        </p:txBody>
      </p:sp>
      <p:pic>
        <p:nvPicPr>
          <p:cNvPr id="11" name="Picture 10">
            <a:extLst>
              <a:ext uri="{FF2B5EF4-FFF2-40B4-BE49-F238E27FC236}">
                <a16:creationId xmlns:a16="http://schemas.microsoft.com/office/drawing/2014/main" id="{5D8B9123-19FB-636F-B909-8DAF571222D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75358" y="2315385"/>
            <a:ext cx="9041283" cy="2987652"/>
          </a:xfrm>
          <a:prstGeom prst="rect">
            <a:avLst/>
          </a:prstGeom>
        </p:spPr>
      </p:pic>
    </p:spTree>
    <p:extLst>
      <p:ext uri="{BB962C8B-B14F-4D97-AF65-F5344CB8AC3E}">
        <p14:creationId xmlns:p14="http://schemas.microsoft.com/office/powerpoint/2010/main" val="3133154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 calcmode="lin" valueType="num">
                                      <p:cBhvr additive="base">
                                        <p:cTn id="11" dur="5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10">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10">
                                            <p:txEl>
                                              <p:pRg st="0" end="0"/>
                                            </p:txEl>
                                          </p:spTgt>
                                        </p:tgtEl>
                                        <p:attrNameLst>
                                          <p:attrName>ppt_c</p:attrName>
                                        </p:attrNameLst>
                                      </p:cBhvr>
                                      <p:to>
                                        <a:srgbClr val="F7CA93"/>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4C213-8B1E-075C-184D-DBD54E4C3C43}"/>
              </a:ext>
            </a:extLst>
          </p:cNvPr>
          <p:cNvSpPr>
            <a:spLocks noGrp="1"/>
          </p:cNvSpPr>
          <p:nvPr>
            <p:ph type="title"/>
          </p:nvPr>
        </p:nvSpPr>
        <p:spPr/>
        <p:txBody>
          <a:bodyPr/>
          <a:lstStyle/>
          <a:p>
            <a:r>
              <a:rPr lang="en-GB" dirty="0"/>
              <a:t>Tips and Tricks</a:t>
            </a:r>
          </a:p>
        </p:txBody>
      </p:sp>
      <p:sp>
        <p:nvSpPr>
          <p:cNvPr id="4" name="Text Placeholder 3">
            <a:extLst>
              <a:ext uri="{FF2B5EF4-FFF2-40B4-BE49-F238E27FC236}">
                <a16:creationId xmlns:a16="http://schemas.microsoft.com/office/drawing/2014/main" id="{07333C2A-8703-6BAA-1F0E-65385FA51F3B}"/>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15024458"/>
      </p:ext>
    </p:extLst>
  </p:cSld>
  <p:clrMapOvr>
    <a:masterClrMapping/>
  </p:clrMapOvr>
  <p:transition spd="slow">
    <p:push dir="r"/>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BE" dirty="0"/>
              <a:t>Power Point Tips</a:t>
            </a:r>
          </a:p>
        </p:txBody>
      </p:sp>
      <p:sp>
        <p:nvSpPr>
          <p:cNvPr id="8" name="Content Placeholder 7"/>
          <p:cNvSpPr>
            <a:spLocks noGrp="1"/>
          </p:cNvSpPr>
          <p:nvPr>
            <p:ph idx="1"/>
          </p:nvPr>
        </p:nvSpPr>
        <p:spPr>
          <a:xfrm>
            <a:off x="1097280" y="1453495"/>
            <a:ext cx="10058400" cy="4693305"/>
          </a:xfrm>
        </p:spPr>
        <p:txBody>
          <a:bodyPr numCol="2">
            <a:normAutofit lnSpcReduction="10000"/>
          </a:bodyPr>
          <a:lstStyle/>
          <a:p>
            <a:r>
              <a:rPr lang="en-US" dirty="0"/>
              <a:t>Ctrl-D Duplicate</a:t>
            </a:r>
          </a:p>
          <a:p>
            <a:r>
              <a:rPr lang="en-US" dirty="0"/>
              <a:t>Shift-F3</a:t>
            </a:r>
          </a:p>
          <a:p>
            <a:r>
              <a:rPr lang="en-US" dirty="0"/>
              <a:t>Reset zoom</a:t>
            </a:r>
          </a:p>
          <a:p>
            <a:r>
              <a:rPr lang="en-US" dirty="0"/>
              <a:t>Use Tab to cycle</a:t>
            </a:r>
          </a:p>
          <a:p>
            <a:r>
              <a:rPr lang="en-US" dirty="0"/>
              <a:t>Double click object to open Format Pane</a:t>
            </a:r>
          </a:p>
          <a:p>
            <a:r>
              <a:rPr lang="en-US" dirty="0"/>
              <a:t>Reuse slide / from outline</a:t>
            </a:r>
          </a:p>
          <a:p>
            <a:r>
              <a:rPr lang="en-US" dirty="0"/>
              <a:t>Hide slide</a:t>
            </a:r>
          </a:p>
          <a:p>
            <a:r>
              <a:rPr lang="en-US" dirty="0"/>
              <a:t>Propagate animation / painter</a:t>
            </a:r>
          </a:p>
          <a:p>
            <a:r>
              <a:rPr lang="en-US" dirty="0"/>
              <a:t>Straight lines and perfect circles</a:t>
            </a:r>
          </a:p>
          <a:p>
            <a:r>
              <a:rPr lang="en-US" dirty="0"/>
              <a:t>Collapse in outline</a:t>
            </a:r>
          </a:p>
          <a:p>
            <a:r>
              <a:rPr lang="en-US" dirty="0"/>
              <a:t>Convert into smart art</a:t>
            </a:r>
          </a:p>
          <a:p>
            <a:r>
              <a:rPr lang="en-US" dirty="0"/>
              <a:t>Resize images</a:t>
            </a:r>
          </a:p>
          <a:p>
            <a:r>
              <a:rPr lang="en-US" dirty="0" err="1"/>
              <a:t>Shft</a:t>
            </a:r>
            <a:r>
              <a:rPr lang="en-US" dirty="0"/>
              <a:t> click views</a:t>
            </a:r>
          </a:p>
          <a:p>
            <a:r>
              <a:rPr lang="en-US" dirty="0"/>
              <a:t>During presentation:</a:t>
            </a:r>
          </a:p>
          <a:p>
            <a:pPr lvl="1"/>
            <a:r>
              <a:rPr lang="en-US" dirty="0"/>
              <a:t>B or W </a:t>
            </a:r>
          </a:p>
          <a:p>
            <a:pPr lvl="1"/>
            <a:r>
              <a:rPr lang="en-US" dirty="0"/>
              <a:t>- key </a:t>
            </a:r>
          </a:p>
          <a:p>
            <a:pPr lvl="1"/>
            <a:r>
              <a:rPr lang="en-US" dirty="0"/>
              <a:t>Slide number + enter</a:t>
            </a:r>
          </a:p>
        </p:txBody>
      </p:sp>
    </p:spTree>
    <p:extLst>
      <p:ext uri="{BB962C8B-B14F-4D97-AF65-F5344CB8AC3E}">
        <p14:creationId xmlns:p14="http://schemas.microsoft.com/office/powerpoint/2010/main" val="21469417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BE" dirty="0"/>
              <a:t>Power Point Tips 1</a:t>
            </a:r>
          </a:p>
        </p:txBody>
      </p:sp>
      <p:sp>
        <p:nvSpPr>
          <p:cNvPr id="8" name="Content Placeholder 7"/>
          <p:cNvSpPr>
            <a:spLocks noGrp="1"/>
          </p:cNvSpPr>
          <p:nvPr>
            <p:ph idx="1"/>
          </p:nvPr>
        </p:nvSpPr>
        <p:spPr>
          <a:xfrm>
            <a:off x="1097280" y="1453495"/>
            <a:ext cx="6034133" cy="4591705"/>
          </a:xfrm>
        </p:spPr>
        <p:txBody>
          <a:bodyPr numCol="1">
            <a:normAutofit lnSpcReduction="10000"/>
          </a:bodyPr>
          <a:lstStyle/>
          <a:p>
            <a:r>
              <a:rPr lang="en-US" dirty="0"/>
              <a:t>Ctrl-D Duplicate</a:t>
            </a:r>
          </a:p>
          <a:p>
            <a:r>
              <a:rPr lang="en-US" dirty="0"/>
              <a:t>Shift-F3</a:t>
            </a:r>
          </a:p>
          <a:p>
            <a:r>
              <a:rPr lang="en-US" dirty="0"/>
              <a:t>Reset zoom</a:t>
            </a:r>
          </a:p>
          <a:p>
            <a:r>
              <a:rPr lang="en-US" dirty="0"/>
              <a:t>Use Tab to cycle</a:t>
            </a:r>
          </a:p>
          <a:p>
            <a:r>
              <a:rPr lang="en-US" dirty="0"/>
              <a:t>Double click object to open Format Pane</a:t>
            </a:r>
          </a:p>
          <a:p>
            <a:r>
              <a:rPr lang="en-US" dirty="0"/>
              <a:t>Reuse slide / from outline</a:t>
            </a:r>
          </a:p>
          <a:p>
            <a:r>
              <a:rPr lang="en-US" dirty="0"/>
              <a:t>Hide slide</a:t>
            </a:r>
          </a:p>
          <a:p>
            <a:r>
              <a:rPr lang="en-US" dirty="0"/>
              <a:t>Propagate animation / painter</a:t>
            </a:r>
          </a:p>
        </p:txBody>
      </p:sp>
      <p:grpSp>
        <p:nvGrpSpPr>
          <p:cNvPr id="6" name="Groep 5">
            <a:extLst>
              <a:ext uri="{FF2B5EF4-FFF2-40B4-BE49-F238E27FC236}">
                <a16:creationId xmlns:a16="http://schemas.microsoft.com/office/drawing/2014/main" id="{75C434B0-6BAA-AA5F-E1C5-414219BD3A6C}"/>
              </a:ext>
            </a:extLst>
          </p:cNvPr>
          <p:cNvGrpSpPr/>
          <p:nvPr/>
        </p:nvGrpSpPr>
        <p:grpSpPr>
          <a:xfrm>
            <a:off x="6908250" y="1456543"/>
            <a:ext cx="3947962" cy="3947962"/>
            <a:chOff x="9530616" y="2716554"/>
            <a:chExt cx="1564104" cy="1564104"/>
          </a:xfrm>
        </p:grpSpPr>
        <p:sp>
          <p:nvSpPr>
            <p:cNvPr id="2" name="Rechthoek 1">
              <a:extLst>
                <a:ext uri="{FF2B5EF4-FFF2-40B4-BE49-F238E27FC236}">
                  <a16:creationId xmlns:a16="http://schemas.microsoft.com/office/drawing/2014/main" id="{B40C5970-06E3-B180-DFEB-255894694496}"/>
                </a:ext>
              </a:extLst>
            </p:cNvPr>
            <p:cNvSpPr/>
            <p:nvPr/>
          </p:nvSpPr>
          <p:spPr>
            <a:xfrm>
              <a:off x="9680238" y="2868606"/>
              <a:ext cx="1260000" cy="1260000"/>
            </a:xfrm>
            <a:prstGeom prst="rect">
              <a:avLst/>
            </a:prstGeom>
            <a:noFill/>
            <a:ln w="38100">
              <a:solidFill>
                <a:schemeClr val="accent1">
                  <a:lumMod val="60000"/>
                  <a:lumOff val="40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grpSp>
          <p:nvGrpSpPr>
            <p:cNvPr id="5" name="Groep 4">
              <a:extLst>
                <a:ext uri="{FF2B5EF4-FFF2-40B4-BE49-F238E27FC236}">
                  <a16:creationId xmlns:a16="http://schemas.microsoft.com/office/drawing/2014/main" id="{835D3A74-81EC-6017-554C-3588BC4D428A}"/>
                </a:ext>
              </a:extLst>
            </p:cNvPr>
            <p:cNvGrpSpPr/>
            <p:nvPr/>
          </p:nvGrpSpPr>
          <p:grpSpPr>
            <a:xfrm>
              <a:off x="9530616" y="2716554"/>
              <a:ext cx="1564104" cy="1564104"/>
              <a:chOff x="4035205" y="1560791"/>
              <a:chExt cx="1564104" cy="1564104"/>
            </a:xfrm>
          </p:grpSpPr>
          <p:sp>
            <p:nvSpPr>
              <p:cNvPr id="3" name="Ovaal 2">
                <a:extLst>
                  <a:ext uri="{FF2B5EF4-FFF2-40B4-BE49-F238E27FC236}">
                    <a16:creationId xmlns:a16="http://schemas.microsoft.com/office/drawing/2014/main" id="{9F384750-37B6-6D24-738B-EEE40A208385}"/>
                  </a:ext>
                </a:extLst>
              </p:cNvPr>
              <p:cNvSpPr/>
              <p:nvPr/>
            </p:nvSpPr>
            <p:spPr>
              <a:xfrm>
                <a:off x="4035205" y="1560791"/>
                <a:ext cx="1564104" cy="1564104"/>
              </a:xfrm>
              <a:prstGeom prst="ellipse">
                <a:avLst/>
              </a:prstGeom>
              <a:noFill/>
              <a:ln w="38100">
                <a:solidFill>
                  <a:schemeClr val="accent1">
                    <a:lumMod val="60000"/>
                    <a:lumOff val="40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sp>
            <p:nvSpPr>
              <p:cNvPr id="4" name="Ovaal 3">
                <a:extLst>
                  <a:ext uri="{FF2B5EF4-FFF2-40B4-BE49-F238E27FC236}">
                    <a16:creationId xmlns:a16="http://schemas.microsoft.com/office/drawing/2014/main" id="{4952EE6E-99E3-B86F-0E9C-E38988297C4D}"/>
                  </a:ext>
                </a:extLst>
              </p:cNvPr>
              <p:cNvSpPr/>
              <p:nvPr/>
            </p:nvSpPr>
            <p:spPr>
              <a:xfrm>
                <a:off x="4293266" y="1818852"/>
                <a:ext cx="1047982" cy="1047982"/>
              </a:xfrm>
              <a:prstGeom prst="ellipse">
                <a:avLst/>
              </a:prstGeom>
              <a:noFill/>
              <a:ln w="38100">
                <a:solidFill>
                  <a:schemeClr val="accent1">
                    <a:lumMod val="60000"/>
                    <a:lumOff val="40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grpSp>
      </p:grpSp>
    </p:spTree>
    <p:extLst>
      <p:ext uri="{BB962C8B-B14F-4D97-AF65-F5344CB8AC3E}">
        <p14:creationId xmlns:p14="http://schemas.microsoft.com/office/powerpoint/2010/main" val="595929382"/>
      </p:ext>
    </p:extLst>
  </p:cSld>
  <p:clrMapOvr>
    <a:masterClrMapping/>
  </p:clrMapOvr>
  <p:transition spd="slow">
    <p:push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BE" dirty="0"/>
              <a:t>Power Point Tips 2</a:t>
            </a:r>
          </a:p>
        </p:txBody>
      </p:sp>
      <p:graphicFrame>
        <p:nvGraphicFramePr>
          <p:cNvPr id="9" name="Content Placeholder 8">
            <a:extLst>
              <a:ext uri="{FF2B5EF4-FFF2-40B4-BE49-F238E27FC236}">
                <a16:creationId xmlns:a16="http://schemas.microsoft.com/office/drawing/2014/main" id="{906D1BA5-5B15-7EB4-ABEA-77D5A9AD71E3}"/>
              </a:ext>
            </a:extLst>
          </p:cNvPr>
          <p:cNvGraphicFramePr>
            <a:graphicFrameLocks noGrp="1"/>
          </p:cNvGraphicFramePr>
          <p:nvPr>
            <p:ph idx="1"/>
            <p:extLst>
              <p:ext uri="{D42A27DB-BD31-4B8C-83A1-F6EECF244321}">
                <p14:modId xmlns:p14="http://schemas.microsoft.com/office/powerpoint/2010/main" val="3724269975"/>
              </p:ext>
            </p:extLst>
          </p:nvPr>
        </p:nvGraphicFramePr>
        <p:xfrm>
          <a:off x="1097280" y="1453495"/>
          <a:ext cx="10058400" cy="45917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ep 5">
            <a:extLst>
              <a:ext uri="{FF2B5EF4-FFF2-40B4-BE49-F238E27FC236}">
                <a16:creationId xmlns:a16="http://schemas.microsoft.com/office/drawing/2014/main" id="{75C434B0-6BAA-AA5F-E1C5-414219BD3A6C}"/>
              </a:ext>
            </a:extLst>
          </p:cNvPr>
          <p:cNvGrpSpPr/>
          <p:nvPr/>
        </p:nvGrpSpPr>
        <p:grpSpPr>
          <a:xfrm>
            <a:off x="3573379" y="1455019"/>
            <a:ext cx="3947962" cy="3947962"/>
            <a:chOff x="9530616" y="2716554"/>
            <a:chExt cx="1564104" cy="1564104"/>
          </a:xfrm>
        </p:grpSpPr>
        <p:sp>
          <p:nvSpPr>
            <p:cNvPr id="2" name="Rechthoek 1">
              <a:extLst>
                <a:ext uri="{FF2B5EF4-FFF2-40B4-BE49-F238E27FC236}">
                  <a16:creationId xmlns:a16="http://schemas.microsoft.com/office/drawing/2014/main" id="{B40C5970-06E3-B180-DFEB-255894694496}"/>
                </a:ext>
              </a:extLst>
            </p:cNvPr>
            <p:cNvSpPr/>
            <p:nvPr/>
          </p:nvSpPr>
          <p:spPr>
            <a:xfrm>
              <a:off x="9680238" y="2868606"/>
              <a:ext cx="1260000" cy="1260000"/>
            </a:xfrm>
            <a:prstGeom prst="rect">
              <a:avLst/>
            </a:prstGeom>
            <a:noFill/>
            <a:ln w="38100">
              <a:solidFill>
                <a:schemeClr val="accent1">
                  <a:lumMod val="60000"/>
                  <a:lumOff val="40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grpSp>
          <p:nvGrpSpPr>
            <p:cNvPr id="5" name="Groep 4">
              <a:extLst>
                <a:ext uri="{FF2B5EF4-FFF2-40B4-BE49-F238E27FC236}">
                  <a16:creationId xmlns:a16="http://schemas.microsoft.com/office/drawing/2014/main" id="{835D3A74-81EC-6017-554C-3588BC4D428A}"/>
                </a:ext>
              </a:extLst>
            </p:cNvPr>
            <p:cNvGrpSpPr/>
            <p:nvPr/>
          </p:nvGrpSpPr>
          <p:grpSpPr>
            <a:xfrm>
              <a:off x="9530616" y="2716554"/>
              <a:ext cx="1564104" cy="1564104"/>
              <a:chOff x="4035205" y="1560791"/>
              <a:chExt cx="1564104" cy="1564104"/>
            </a:xfrm>
          </p:grpSpPr>
          <p:sp>
            <p:nvSpPr>
              <p:cNvPr id="3" name="Ovaal 2">
                <a:extLst>
                  <a:ext uri="{FF2B5EF4-FFF2-40B4-BE49-F238E27FC236}">
                    <a16:creationId xmlns:a16="http://schemas.microsoft.com/office/drawing/2014/main" id="{9F384750-37B6-6D24-738B-EEE40A208385}"/>
                  </a:ext>
                </a:extLst>
              </p:cNvPr>
              <p:cNvSpPr/>
              <p:nvPr/>
            </p:nvSpPr>
            <p:spPr>
              <a:xfrm>
                <a:off x="4035205" y="1560791"/>
                <a:ext cx="1564104" cy="1564104"/>
              </a:xfrm>
              <a:prstGeom prst="ellipse">
                <a:avLst/>
              </a:prstGeom>
              <a:noFill/>
              <a:ln w="38100">
                <a:solidFill>
                  <a:schemeClr val="accent1">
                    <a:lumMod val="60000"/>
                    <a:lumOff val="40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sp>
            <p:nvSpPr>
              <p:cNvPr id="4" name="Ovaal 3">
                <a:extLst>
                  <a:ext uri="{FF2B5EF4-FFF2-40B4-BE49-F238E27FC236}">
                    <a16:creationId xmlns:a16="http://schemas.microsoft.com/office/drawing/2014/main" id="{4952EE6E-99E3-B86F-0E9C-E38988297C4D}"/>
                  </a:ext>
                </a:extLst>
              </p:cNvPr>
              <p:cNvSpPr/>
              <p:nvPr/>
            </p:nvSpPr>
            <p:spPr>
              <a:xfrm>
                <a:off x="4293266" y="1818852"/>
                <a:ext cx="1047982" cy="1047982"/>
              </a:xfrm>
              <a:prstGeom prst="ellipse">
                <a:avLst/>
              </a:prstGeom>
              <a:noFill/>
              <a:ln w="38100">
                <a:solidFill>
                  <a:schemeClr val="accent1">
                    <a:lumMod val="60000"/>
                    <a:lumOff val="40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grpSp>
      </p:grpSp>
    </p:spTree>
    <p:extLst>
      <p:ext uri="{BB962C8B-B14F-4D97-AF65-F5344CB8AC3E}">
        <p14:creationId xmlns:p14="http://schemas.microsoft.com/office/powerpoint/2010/main" val="3083517900"/>
      </p:ext>
    </p:extLst>
  </p:cSld>
  <p:clrMapOvr>
    <a:masterClrMapping/>
  </p:clrMapOvr>
  <p:transition spd="slow">
    <p:push dir="r"/>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BE" dirty="0"/>
              <a:t>Power Point Tricks</a:t>
            </a:r>
          </a:p>
        </p:txBody>
      </p:sp>
      <p:sp>
        <p:nvSpPr>
          <p:cNvPr id="8" name="Content Placeholder 7"/>
          <p:cNvSpPr>
            <a:spLocks noGrp="1"/>
          </p:cNvSpPr>
          <p:nvPr>
            <p:ph idx="1"/>
          </p:nvPr>
        </p:nvSpPr>
        <p:spPr/>
        <p:txBody>
          <a:bodyPr>
            <a:normAutofit fontScale="62500" lnSpcReduction="20000"/>
          </a:bodyPr>
          <a:lstStyle/>
          <a:p>
            <a:r>
              <a:rPr lang="en-US" dirty="0"/>
              <a:t>Use transparency on objects</a:t>
            </a:r>
          </a:p>
          <a:p>
            <a:r>
              <a:rPr lang="en-US" dirty="0"/>
              <a:t>Set </a:t>
            </a:r>
            <a:r>
              <a:rPr lang="en-US" dirty="0" err="1"/>
              <a:t>autoshape</a:t>
            </a:r>
            <a:r>
              <a:rPr lang="en-US" dirty="0"/>
              <a:t> default</a:t>
            </a:r>
          </a:p>
          <a:p>
            <a:r>
              <a:rPr lang="en-US" dirty="0"/>
              <a:t>Custom shows to show / to print</a:t>
            </a:r>
          </a:p>
          <a:p>
            <a:r>
              <a:rPr lang="en-US" dirty="0"/>
              <a:t>Animated buttons or text on master</a:t>
            </a:r>
          </a:p>
          <a:p>
            <a:r>
              <a:rPr lang="en-US" dirty="0"/>
              <a:t>Language settings on master</a:t>
            </a:r>
          </a:p>
          <a:p>
            <a:r>
              <a:rPr lang="en-US" dirty="0"/>
              <a:t>Propagate design theme as office theme</a:t>
            </a:r>
          </a:p>
          <a:p>
            <a:r>
              <a:rPr lang="en-US" dirty="0"/>
              <a:t>Publish slides as images</a:t>
            </a:r>
          </a:p>
          <a:p>
            <a:r>
              <a:rPr lang="fr-BE" dirty="0" err="1"/>
              <a:t>Embed</a:t>
            </a:r>
            <a:r>
              <a:rPr lang="fr-BE" dirty="0"/>
              <a:t> </a:t>
            </a:r>
            <a:r>
              <a:rPr lang="fr-BE" dirty="0" err="1"/>
              <a:t>your</a:t>
            </a:r>
            <a:r>
              <a:rPr lang="fr-BE" dirty="0"/>
              <a:t> font files</a:t>
            </a:r>
          </a:p>
          <a:p>
            <a:r>
              <a:rPr lang="fr-BE" dirty="0"/>
              <a:t>Save </a:t>
            </a:r>
            <a:r>
              <a:rPr lang="fr-BE" dirty="0" err="1"/>
              <a:t>presentation</a:t>
            </a:r>
            <a:r>
              <a:rPr lang="fr-BE" dirty="0"/>
              <a:t> as </a:t>
            </a:r>
            <a:r>
              <a:rPr lang="fr-BE" dirty="0" err="1"/>
              <a:t>video</a:t>
            </a:r>
            <a:endParaRPr lang="fr-BE" dirty="0"/>
          </a:p>
          <a:p>
            <a:r>
              <a:rPr lang="fr-BE" dirty="0" err="1"/>
              <a:t>Ungroup</a:t>
            </a:r>
            <a:r>
              <a:rPr lang="fr-BE" dirty="0"/>
              <a:t> table as </a:t>
            </a:r>
            <a:r>
              <a:rPr lang="fr-BE" dirty="0" err="1"/>
              <a:t>shape</a:t>
            </a:r>
            <a:endParaRPr lang="fr-BE" dirty="0"/>
          </a:p>
          <a:p>
            <a:r>
              <a:rPr lang="en-US" dirty="0"/>
              <a:t>Change shape and crop images into shapes</a:t>
            </a:r>
          </a:p>
          <a:p>
            <a:r>
              <a:rPr lang="fr-BE" dirty="0"/>
              <a:t>=</a:t>
            </a:r>
            <a:r>
              <a:rPr lang="fr-BE" dirty="0" err="1"/>
              <a:t>lorem</a:t>
            </a:r>
            <a:r>
              <a:rPr lang="fr-BE" dirty="0"/>
              <a:t>(x) </a:t>
            </a:r>
          </a:p>
          <a:p>
            <a:endParaRPr lang="en-US" dirty="0"/>
          </a:p>
        </p:txBody>
      </p:sp>
    </p:spTree>
    <p:extLst>
      <p:ext uri="{BB962C8B-B14F-4D97-AF65-F5344CB8AC3E}">
        <p14:creationId xmlns:p14="http://schemas.microsoft.com/office/powerpoint/2010/main" val="22659127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BE" dirty="0"/>
              <a:t>Power Point Tricks in 2 </a:t>
            </a:r>
            <a:r>
              <a:rPr lang="fr-BE" dirty="0" err="1"/>
              <a:t>columns</a:t>
            </a:r>
            <a:endParaRPr lang="fr-BE" dirty="0"/>
          </a:p>
        </p:txBody>
      </p:sp>
      <p:sp>
        <p:nvSpPr>
          <p:cNvPr id="8" name="Content Placeholder 7"/>
          <p:cNvSpPr>
            <a:spLocks noGrp="1"/>
          </p:cNvSpPr>
          <p:nvPr>
            <p:ph idx="1"/>
          </p:nvPr>
        </p:nvSpPr>
        <p:spPr/>
        <p:txBody>
          <a:bodyPr numCol="2">
            <a:normAutofit/>
          </a:bodyPr>
          <a:lstStyle/>
          <a:p>
            <a:r>
              <a:rPr lang="en-US" dirty="0"/>
              <a:t>Use transparency on objects</a:t>
            </a:r>
          </a:p>
          <a:p>
            <a:r>
              <a:rPr lang="en-US" dirty="0"/>
              <a:t>Set </a:t>
            </a:r>
            <a:r>
              <a:rPr lang="en-US" dirty="0" err="1"/>
              <a:t>autoshape</a:t>
            </a:r>
            <a:r>
              <a:rPr lang="en-US" dirty="0"/>
              <a:t> default</a:t>
            </a:r>
          </a:p>
          <a:p>
            <a:r>
              <a:rPr lang="en-US" dirty="0"/>
              <a:t>Custom shows to show/print</a:t>
            </a:r>
          </a:p>
          <a:p>
            <a:r>
              <a:rPr lang="en-US" dirty="0"/>
              <a:t>Animated buttons on master</a:t>
            </a:r>
          </a:p>
          <a:p>
            <a:r>
              <a:rPr lang="en-US" dirty="0"/>
              <a:t>Language settings on master</a:t>
            </a:r>
          </a:p>
          <a:p>
            <a:r>
              <a:rPr lang="en-US" dirty="0"/>
              <a:t>Propagate design theme as office theme</a:t>
            </a:r>
          </a:p>
          <a:p>
            <a:r>
              <a:rPr lang="en-US" dirty="0"/>
              <a:t>Publish slides as images</a:t>
            </a:r>
          </a:p>
          <a:p>
            <a:r>
              <a:rPr lang="fr-BE" dirty="0" err="1"/>
              <a:t>Embed</a:t>
            </a:r>
            <a:r>
              <a:rPr lang="fr-BE" dirty="0"/>
              <a:t> </a:t>
            </a:r>
            <a:r>
              <a:rPr lang="fr-BE" dirty="0" err="1"/>
              <a:t>your</a:t>
            </a:r>
            <a:r>
              <a:rPr lang="fr-BE" dirty="0"/>
              <a:t> font files</a:t>
            </a:r>
          </a:p>
          <a:p>
            <a:r>
              <a:rPr lang="fr-BE" dirty="0"/>
              <a:t>Save </a:t>
            </a:r>
            <a:r>
              <a:rPr lang="fr-BE" dirty="0" err="1"/>
              <a:t>presentation</a:t>
            </a:r>
            <a:r>
              <a:rPr lang="fr-BE" dirty="0"/>
              <a:t> as </a:t>
            </a:r>
            <a:r>
              <a:rPr lang="fr-BE" dirty="0" err="1"/>
              <a:t>video</a:t>
            </a:r>
            <a:endParaRPr lang="fr-BE" dirty="0"/>
          </a:p>
          <a:p>
            <a:r>
              <a:rPr lang="fr-BE" dirty="0" err="1"/>
              <a:t>Ungroup</a:t>
            </a:r>
            <a:r>
              <a:rPr lang="fr-BE" dirty="0"/>
              <a:t> table as </a:t>
            </a:r>
            <a:r>
              <a:rPr lang="fr-BE" dirty="0" err="1"/>
              <a:t>shape</a:t>
            </a:r>
            <a:endParaRPr lang="fr-BE" dirty="0"/>
          </a:p>
          <a:p>
            <a:r>
              <a:rPr lang="en-US" dirty="0"/>
              <a:t>Change shape and crop images into shapes</a:t>
            </a:r>
          </a:p>
          <a:p>
            <a:r>
              <a:rPr lang="fr-BE" dirty="0"/>
              <a:t>=</a:t>
            </a:r>
            <a:r>
              <a:rPr lang="fr-BE" dirty="0" err="1"/>
              <a:t>lorem</a:t>
            </a:r>
            <a:r>
              <a:rPr lang="fr-BE" dirty="0"/>
              <a:t>(x) </a:t>
            </a:r>
          </a:p>
        </p:txBody>
      </p:sp>
      <p:grpSp>
        <p:nvGrpSpPr>
          <p:cNvPr id="5" name="Groep 5">
            <a:extLst>
              <a:ext uri="{FF2B5EF4-FFF2-40B4-BE49-F238E27FC236}">
                <a16:creationId xmlns:a16="http://schemas.microsoft.com/office/drawing/2014/main" id="{35E7378E-DE30-E131-399F-FA4A2DACFE72}"/>
              </a:ext>
            </a:extLst>
          </p:cNvPr>
          <p:cNvGrpSpPr/>
          <p:nvPr/>
        </p:nvGrpSpPr>
        <p:grpSpPr>
          <a:xfrm>
            <a:off x="3573379" y="1455019"/>
            <a:ext cx="3947962" cy="3947962"/>
            <a:chOff x="9530616" y="2716554"/>
            <a:chExt cx="1564104" cy="1564104"/>
          </a:xfrm>
        </p:grpSpPr>
        <p:sp>
          <p:nvSpPr>
            <p:cNvPr id="6" name="Rechthoek 1">
              <a:extLst>
                <a:ext uri="{FF2B5EF4-FFF2-40B4-BE49-F238E27FC236}">
                  <a16:creationId xmlns:a16="http://schemas.microsoft.com/office/drawing/2014/main" id="{637924F7-0D5C-78FE-68B5-FC034ADD2B62}"/>
                </a:ext>
              </a:extLst>
            </p:cNvPr>
            <p:cNvSpPr/>
            <p:nvPr/>
          </p:nvSpPr>
          <p:spPr>
            <a:xfrm>
              <a:off x="9680238" y="2868606"/>
              <a:ext cx="1260000" cy="1260000"/>
            </a:xfrm>
            <a:prstGeom prst="rect">
              <a:avLst/>
            </a:prstGeom>
            <a:noFill/>
            <a:ln w="38100">
              <a:solidFill>
                <a:schemeClr val="accent1">
                  <a:lumMod val="60000"/>
                  <a:lumOff val="40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grpSp>
          <p:nvGrpSpPr>
            <p:cNvPr id="9" name="Groep 4">
              <a:extLst>
                <a:ext uri="{FF2B5EF4-FFF2-40B4-BE49-F238E27FC236}">
                  <a16:creationId xmlns:a16="http://schemas.microsoft.com/office/drawing/2014/main" id="{D63BD1B6-0DB3-770A-83AC-D1CC2AC62712}"/>
                </a:ext>
              </a:extLst>
            </p:cNvPr>
            <p:cNvGrpSpPr/>
            <p:nvPr/>
          </p:nvGrpSpPr>
          <p:grpSpPr>
            <a:xfrm>
              <a:off x="9530616" y="2716554"/>
              <a:ext cx="1564104" cy="1564104"/>
              <a:chOff x="4035205" y="1560791"/>
              <a:chExt cx="1564104" cy="1564104"/>
            </a:xfrm>
          </p:grpSpPr>
          <p:sp>
            <p:nvSpPr>
              <p:cNvPr id="10" name="Ovaal 2">
                <a:extLst>
                  <a:ext uri="{FF2B5EF4-FFF2-40B4-BE49-F238E27FC236}">
                    <a16:creationId xmlns:a16="http://schemas.microsoft.com/office/drawing/2014/main" id="{A2E5C767-C192-997B-8E94-4A4C4F54BCC2}"/>
                  </a:ext>
                </a:extLst>
              </p:cNvPr>
              <p:cNvSpPr/>
              <p:nvPr/>
            </p:nvSpPr>
            <p:spPr>
              <a:xfrm>
                <a:off x="4035205" y="1560791"/>
                <a:ext cx="1564104" cy="1564104"/>
              </a:xfrm>
              <a:prstGeom prst="ellipse">
                <a:avLst/>
              </a:prstGeom>
              <a:noFill/>
              <a:ln w="38100">
                <a:solidFill>
                  <a:schemeClr val="accent1">
                    <a:lumMod val="60000"/>
                    <a:lumOff val="40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sp>
            <p:nvSpPr>
              <p:cNvPr id="11" name="Ovaal 3">
                <a:extLst>
                  <a:ext uri="{FF2B5EF4-FFF2-40B4-BE49-F238E27FC236}">
                    <a16:creationId xmlns:a16="http://schemas.microsoft.com/office/drawing/2014/main" id="{9ABC21AB-DCB0-E63E-02CC-4301ED36C8A3}"/>
                  </a:ext>
                </a:extLst>
              </p:cNvPr>
              <p:cNvSpPr/>
              <p:nvPr/>
            </p:nvSpPr>
            <p:spPr>
              <a:xfrm>
                <a:off x="4293266" y="1818852"/>
                <a:ext cx="1047982" cy="1047982"/>
              </a:xfrm>
              <a:prstGeom prst="ellipse">
                <a:avLst/>
              </a:prstGeom>
              <a:noFill/>
              <a:ln w="38100">
                <a:solidFill>
                  <a:schemeClr val="accent1">
                    <a:lumMod val="60000"/>
                    <a:lumOff val="40000"/>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grpSp>
      </p:grpSp>
    </p:spTree>
    <p:extLst>
      <p:ext uri="{BB962C8B-B14F-4D97-AF65-F5344CB8AC3E}">
        <p14:creationId xmlns:p14="http://schemas.microsoft.com/office/powerpoint/2010/main" val="1919564997"/>
      </p:ext>
    </p:extLst>
  </p:cSld>
  <p:clrMapOvr>
    <a:masterClrMapping/>
  </p:clrMapOvr>
  <p:transition spd="slow">
    <p:push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E8408-14CB-948F-8031-78E3B6B6E0E6}"/>
              </a:ext>
            </a:extLst>
          </p:cNvPr>
          <p:cNvSpPr>
            <a:spLocks noGrp="1"/>
          </p:cNvSpPr>
          <p:nvPr>
            <p:ph type="title"/>
          </p:nvPr>
        </p:nvSpPr>
        <p:spPr>
          <a:xfrm>
            <a:off x="1097280" y="286604"/>
            <a:ext cx="10058400" cy="968440"/>
          </a:xfrm>
        </p:spPr>
        <p:txBody>
          <a:bodyPr/>
          <a:lstStyle/>
          <a:p>
            <a:r>
              <a:rPr lang="en-GB" dirty="0"/>
              <a:t>Presentation tips</a:t>
            </a:r>
          </a:p>
        </p:txBody>
      </p:sp>
      <p:sp>
        <p:nvSpPr>
          <p:cNvPr id="3" name="Content Placeholder 2">
            <a:extLst>
              <a:ext uri="{FF2B5EF4-FFF2-40B4-BE49-F238E27FC236}">
                <a16:creationId xmlns:a16="http://schemas.microsoft.com/office/drawing/2014/main" id="{DD103916-F15C-9501-63D1-038A37477ACD}"/>
              </a:ext>
            </a:extLst>
          </p:cNvPr>
          <p:cNvSpPr>
            <a:spLocks noGrp="1"/>
          </p:cNvSpPr>
          <p:nvPr>
            <p:ph sz="half" idx="1"/>
          </p:nvPr>
        </p:nvSpPr>
        <p:spPr>
          <a:xfrm>
            <a:off x="1097279" y="1520574"/>
            <a:ext cx="4937760" cy="4348520"/>
          </a:xfrm>
        </p:spPr>
        <p:txBody>
          <a:bodyPr>
            <a:normAutofit lnSpcReduction="10000"/>
          </a:bodyPr>
          <a:lstStyle/>
          <a:p>
            <a:r>
              <a:rPr lang="en-GB" dirty="0"/>
              <a:t>What’s the learning / objective?</a:t>
            </a:r>
          </a:p>
          <a:p>
            <a:r>
              <a:rPr lang="en-GB" dirty="0"/>
              <a:t>Built the presentation up and structure it</a:t>
            </a:r>
          </a:p>
          <a:p>
            <a:r>
              <a:rPr lang="en-GB" dirty="0"/>
              <a:t>Title states conclusion or main message</a:t>
            </a:r>
          </a:p>
          <a:p>
            <a:r>
              <a:rPr lang="en-GB" dirty="0"/>
              <a:t>Rehearse with coach</a:t>
            </a:r>
          </a:p>
          <a:p>
            <a:endParaRPr lang="en-GB" dirty="0"/>
          </a:p>
          <a:p>
            <a:endParaRPr lang="en-GB" dirty="0"/>
          </a:p>
          <a:p>
            <a:endParaRPr lang="en-GB" dirty="0"/>
          </a:p>
        </p:txBody>
      </p:sp>
      <p:sp>
        <p:nvSpPr>
          <p:cNvPr id="4" name="Content Placeholder 3">
            <a:extLst>
              <a:ext uri="{FF2B5EF4-FFF2-40B4-BE49-F238E27FC236}">
                <a16:creationId xmlns:a16="http://schemas.microsoft.com/office/drawing/2014/main" id="{3C1B35FC-27E1-DAE4-A491-B7BB58D791C7}"/>
              </a:ext>
            </a:extLst>
          </p:cNvPr>
          <p:cNvSpPr>
            <a:spLocks noGrp="1"/>
          </p:cNvSpPr>
          <p:nvPr>
            <p:ph sz="half" idx="2"/>
          </p:nvPr>
        </p:nvSpPr>
        <p:spPr>
          <a:xfrm>
            <a:off x="6217920" y="1520574"/>
            <a:ext cx="4937760" cy="4630843"/>
          </a:xfrm>
        </p:spPr>
        <p:txBody>
          <a:bodyPr>
            <a:normAutofit lnSpcReduction="10000"/>
          </a:bodyPr>
          <a:lstStyle/>
          <a:p>
            <a:r>
              <a:rPr lang="en-GB" dirty="0"/>
              <a:t>Make contact</a:t>
            </a:r>
          </a:p>
          <a:p>
            <a:r>
              <a:rPr lang="en-GB" dirty="0"/>
              <a:t>Variation in rhythm, tonality, speed – provide space</a:t>
            </a:r>
          </a:p>
          <a:p>
            <a:r>
              <a:rPr lang="en-GB" dirty="0"/>
              <a:t>Tell a story</a:t>
            </a:r>
          </a:p>
          <a:p>
            <a:r>
              <a:rPr lang="en-GB" dirty="0"/>
              <a:t>Repeat main points at the end of each part, summarize</a:t>
            </a:r>
          </a:p>
          <a:p>
            <a:r>
              <a:rPr lang="en-GB" dirty="0"/>
              <a:t>Allow silence</a:t>
            </a:r>
          </a:p>
          <a:p>
            <a:r>
              <a:rPr lang="en-GB" dirty="0"/>
              <a:t>Ask questions</a:t>
            </a:r>
          </a:p>
          <a:p>
            <a:r>
              <a:rPr lang="en-GB" dirty="0"/>
              <a:t>Surprise</a:t>
            </a:r>
          </a:p>
          <a:p>
            <a:endParaRPr lang="en-GB" dirty="0"/>
          </a:p>
          <a:p>
            <a:endParaRPr lang="en-GB" dirty="0"/>
          </a:p>
          <a:p>
            <a:endParaRPr lang="en-GB" dirty="0"/>
          </a:p>
          <a:p>
            <a:endParaRPr lang="nl-BE" dirty="0"/>
          </a:p>
          <a:p>
            <a:endParaRPr lang="en-GB" dirty="0"/>
          </a:p>
        </p:txBody>
      </p:sp>
    </p:spTree>
    <p:extLst>
      <p:ext uri="{BB962C8B-B14F-4D97-AF65-F5344CB8AC3E}">
        <p14:creationId xmlns:p14="http://schemas.microsoft.com/office/powerpoint/2010/main" val="3988896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E8408-14CB-948F-8031-78E3B6B6E0E6}"/>
              </a:ext>
            </a:extLst>
          </p:cNvPr>
          <p:cNvSpPr>
            <a:spLocks noGrp="1"/>
          </p:cNvSpPr>
          <p:nvPr>
            <p:ph type="title"/>
          </p:nvPr>
        </p:nvSpPr>
        <p:spPr>
          <a:xfrm>
            <a:off x="1097280" y="286604"/>
            <a:ext cx="10058400" cy="900000"/>
          </a:xfrm>
        </p:spPr>
        <p:txBody>
          <a:bodyPr/>
          <a:lstStyle/>
          <a:p>
            <a:r>
              <a:rPr lang="en-GB" dirty="0"/>
              <a:t>Presentation tips – clearly structured</a:t>
            </a:r>
          </a:p>
        </p:txBody>
      </p:sp>
      <p:sp>
        <p:nvSpPr>
          <p:cNvPr id="3" name="Content Placeholder 2">
            <a:extLst>
              <a:ext uri="{FF2B5EF4-FFF2-40B4-BE49-F238E27FC236}">
                <a16:creationId xmlns:a16="http://schemas.microsoft.com/office/drawing/2014/main" id="{DD103916-F15C-9501-63D1-038A37477ACD}"/>
              </a:ext>
            </a:extLst>
          </p:cNvPr>
          <p:cNvSpPr>
            <a:spLocks noGrp="1"/>
          </p:cNvSpPr>
          <p:nvPr>
            <p:ph sz="half" idx="1"/>
          </p:nvPr>
        </p:nvSpPr>
        <p:spPr>
          <a:xfrm>
            <a:off x="1097278" y="1407560"/>
            <a:ext cx="4937760" cy="4461534"/>
          </a:xfrm>
        </p:spPr>
        <p:txBody>
          <a:bodyPr>
            <a:normAutofit fontScale="92500" lnSpcReduction="10000"/>
          </a:bodyPr>
          <a:lstStyle/>
          <a:p>
            <a:pPr marL="0" indent="0">
              <a:buNone/>
            </a:pPr>
            <a:r>
              <a:rPr lang="en-GB" sz="3500" b="1" dirty="0"/>
              <a:t>Before</a:t>
            </a:r>
            <a:endParaRPr lang="en-GB" b="1" dirty="0"/>
          </a:p>
          <a:p>
            <a:r>
              <a:rPr lang="en-GB" dirty="0"/>
              <a:t>What’s the learning / objective?</a:t>
            </a:r>
          </a:p>
          <a:p>
            <a:r>
              <a:rPr lang="en-GB" dirty="0"/>
              <a:t>Built the presentation up and structure it</a:t>
            </a:r>
          </a:p>
          <a:p>
            <a:r>
              <a:rPr lang="en-GB" dirty="0"/>
              <a:t>What’s the point of each slide?</a:t>
            </a:r>
          </a:p>
          <a:p>
            <a:r>
              <a:rPr lang="en-GB" dirty="0"/>
              <a:t>Title states conclusion or your main message</a:t>
            </a:r>
          </a:p>
          <a:p>
            <a:r>
              <a:rPr lang="en-GB" dirty="0"/>
              <a:t>Rehearse with coach</a:t>
            </a:r>
          </a:p>
          <a:p>
            <a:endParaRPr lang="en-GB" dirty="0"/>
          </a:p>
        </p:txBody>
      </p:sp>
      <p:sp>
        <p:nvSpPr>
          <p:cNvPr id="4" name="Content Placeholder 3">
            <a:extLst>
              <a:ext uri="{FF2B5EF4-FFF2-40B4-BE49-F238E27FC236}">
                <a16:creationId xmlns:a16="http://schemas.microsoft.com/office/drawing/2014/main" id="{3C1B35FC-27E1-DAE4-A491-B7BB58D791C7}"/>
              </a:ext>
            </a:extLst>
          </p:cNvPr>
          <p:cNvSpPr>
            <a:spLocks noGrp="1"/>
          </p:cNvSpPr>
          <p:nvPr>
            <p:ph sz="half" idx="2"/>
          </p:nvPr>
        </p:nvSpPr>
        <p:spPr>
          <a:xfrm>
            <a:off x="6217920" y="1407561"/>
            <a:ext cx="4937760" cy="4893486"/>
          </a:xfrm>
        </p:spPr>
        <p:txBody>
          <a:bodyPr>
            <a:normAutofit fontScale="92500" lnSpcReduction="10000"/>
          </a:bodyPr>
          <a:lstStyle/>
          <a:p>
            <a:pPr marL="0" indent="0">
              <a:buNone/>
            </a:pPr>
            <a:r>
              <a:rPr lang="nl-BE" sz="3500" b="1" dirty="0" err="1"/>
              <a:t>During</a:t>
            </a:r>
            <a:endParaRPr lang="nl-BE" b="1" dirty="0"/>
          </a:p>
          <a:p>
            <a:r>
              <a:rPr lang="en-GB" dirty="0"/>
              <a:t>Make contact</a:t>
            </a:r>
          </a:p>
          <a:p>
            <a:r>
              <a:rPr lang="en-GB" dirty="0"/>
              <a:t>Variation in rhythm, tonality, speed – provide space</a:t>
            </a:r>
          </a:p>
          <a:p>
            <a:r>
              <a:rPr lang="en-GB" dirty="0"/>
              <a:t>Tell a story</a:t>
            </a:r>
          </a:p>
          <a:p>
            <a:r>
              <a:rPr lang="en-GB" dirty="0"/>
              <a:t>Repeat main points at the end of each part, summarize</a:t>
            </a:r>
          </a:p>
          <a:p>
            <a:r>
              <a:rPr lang="en-GB" dirty="0"/>
              <a:t>Allow silence</a:t>
            </a:r>
          </a:p>
          <a:p>
            <a:r>
              <a:rPr lang="en-GB" dirty="0"/>
              <a:t>Ask questions</a:t>
            </a:r>
          </a:p>
          <a:p>
            <a:r>
              <a:rPr lang="en-GB" dirty="0"/>
              <a:t>Surprise</a:t>
            </a:r>
          </a:p>
        </p:txBody>
      </p:sp>
      <p:grpSp>
        <p:nvGrpSpPr>
          <p:cNvPr id="10" name="Groep 5">
            <a:extLst>
              <a:ext uri="{FF2B5EF4-FFF2-40B4-BE49-F238E27FC236}">
                <a16:creationId xmlns:a16="http://schemas.microsoft.com/office/drawing/2014/main" id="{2C0C9ADA-AA93-2E8F-D261-38CF0BED9176}"/>
              </a:ext>
            </a:extLst>
          </p:cNvPr>
          <p:cNvGrpSpPr/>
          <p:nvPr/>
        </p:nvGrpSpPr>
        <p:grpSpPr>
          <a:xfrm>
            <a:off x="3573379" y="1455019"/>
            <a:ext cx="3947962" cy="3947962"/>
            <a:chOff x="9530616" y="2716554"/>
            <a:chExt cx="1564104" cy="1564104"/>
          </a:xfrm>
        </p:grpSpPr>
        <p:sp>
          <p:nvSpPr>
            <p:cNvPr id="11" name="Rechthoek 1">
              <a:extLst>
                <a:ext uri="{FF2B5EF4-FFF2-40B4-BE49-F238E27FC236}">
                  <a16:creationId xmlns:a16="http://schemas.microsoft.com/office/drawing/2014/main" id="{0843241D-159E-00B3-5A41-4656E4FA5B48}"/>
                </a:ext>
              </a:extLst>
            </p:cNvPr>
            <p:cNvSpPr/>
            <p:nvPr/>
          </p:nvSpPr>
          <p:spPr>
            <a:xfrm>
              <a:off x="9680238" y="2868606"/>
              <a:ext cx="1260000" cy="1260000"/>
            </a:xfrm>
            <a:prstGeom prst="rect">
              <a:avLst/>
            </a:prstGeom>
            <a:noFill/>
            <a:ln w="38100">
              <a:solidFill>
                <a:schemeClr val="accent1">
                  <a:lumMod val="60000"/>
                  <a:lumOff val="40000"/>
                  <a:alpha val="1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grpSp>
          <p:nvGrpSpPr>
            <p:cNvPr id="12" name="Groep 4">
              <a:extLst>
                <a:ext uri="{FF2B5EF4-FFF2-40B4-BE49-F238E27FC236}">
                  <a16:creationId xmlns:a16="http://schemas.microsoft.com/office/drawing/2014/main" id="{B015DF8E-36A7-B403-2FA9-4D29BD34F2BB}"/>
                </a:ext>
              </a:extLst>
            </p:cNvPr>
            <p:cNvGrpSpPr/>
            <p:nvPr/>
          </p:nvGrpSpPr>
          <p:grpSpPr>
            <a:xfrm>
              <a:off x="9530616" y="2716554"/>
              <a:ext cx="1564104" cy="1564104"/>
              <a:chOff x="4035205" y="1560791"/>
              <a:chExt cx="1564104" cy="1564104"/>
            </a:xfrm>
          </p:grpSpPr>
          <p:sp>
            <p:nvSpPr>
              <p:cNvPr id="13" name="Ovaal 2">
                <a:extLst>
                  <a:ext uri="{FF2B5EF4-FFF2-40B4-BE49-F238E27FC236}">
                    <a16:creationId xmlns:a16="http://schemas.microsoft.com/office/drawing/2014/main" id="{6DFE0B02-D492-6E89-D90D-5CD6E0C0D15A}"/>
                  </a:ext>
                </a:extLst>
              </p:cNvPr>
              <p:cNvSpPr/>
              <p:nvPr/>
            </p:nvSpPr>
            <p:spPr>
              <a:xfrm>
                <a:off x="4035205" y="1560791"/>
                <a:ext cx="1564104" cy="1564104"/>
              </a:xfrm>
              <a:prstGeom prst="ellipse">
                <a:avLst/>
              </a:prstGeom>
              <a:noFill/>
              <a:ln w="38100">
                <a:solidFill>
                  <a:schemeClr val="accent1">
                    <a:lumMod val="60000"/>
                    <a:lumOff val="40000"/>
                    <a:alpha val="1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sp>
            <p:nvSpPr>
              <p:cNvPr id="14" name="Ovaal 3">
                <a:extLst>
                  <a:ext uri="{FF2B5EF4-FFF2-40B4-BE49-F238E27FC236}">
                    <a16:creationId xmlns:a16="http://schemas.microsoft.com/office/drawing/2014/main" id="{F6C53E2E-EC29-8F10-6D8F-F0902CD3451C}"/>
                  </a:ext>
                </a:extLst>
              </p:cNvPr>
              <p:cNvSpPr/>
              <p:nvPr/>
            </p:nvSpPr>
            <p:spPr>
              <a:xfrm>
                <a:off x="4293266" y="1818852"/>
                <a:ext cx="1047982" cy="1047982"/>
              </a:xfrm>
              <a:prstGeom prst="ellipse">
                <a:avLst/>
              </a:prstGeom>
              <a:noFill/>
              <a:ln w="38100">
                <a:solidFill>
                  <a:schemeClr val="accent1">
                    <a:lumMod val="60000"/>
                    <a:lumOff val="40000"/>
                    <a:alpha val="1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a:noFill/>
                </a:endParaRPr>
              </a:p>
            </p:txBody>
          </p:sp>
        </p:grpSp>
      </p:grpSp>
    </p:spTree>
    <p:extLst>
      <p:ext uri="{BB962C8B-B14F-4D97-AF65-F5344CB8AC3E}">
        <p14:creationId xmlns:p14="http://schemas.microsoft.com/office/powerpoint/2010/main" val="1680577530"/>
      </p:ext>
    </p:extLst>
  </p:cSld>
  <p:clrMapOvr>
    <a:masterClrMapping/>
  </p:clrMapOvr>
  <p:transition spd="slow">
    <p:push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0DC6B44-90FC-CFBE-4536-96CFC65F0230}"/>
              </a:ext>
            </a:extLst>
          </p:cNvPr>
          <p:cNvSpPr>
            <a:spLocks noGrp="1"/>
          </p:cNvSpPr>
          <p:nvPr>
            <p:ph type="title"/>
          </p:nvPr>
        </p:nvSpPr>
        <p:spPr/>
        <p:txBody>
          <a:bodyPr/>
          <a:lstStyle/>
          <a:p>
            <a:r>
              <a:rPr lang="nl-BE" dirty="0"/>
              <a:t>Data </a:t>
            </a:r>
            <a:r>
              <a:rPr lang="nl-BE" dirty="0" err="1"/>
              <a:t>communication</a:t>
            </a:r>
            <a:endParaRPr lang="nl-BE" dirty="0"/>
          </a:p>
        </p:txBody>
      </p:sp>
      <p:sp>
        <p:nvSpPr>
          <p:cNvPr id="3" name="Text Placeholder 2">
            <a:extLst>
              <a:ext uri="{FF2B5EF4-FFF2-40B4-BE49-F238E27FC236}">
                <a16:creationId xmlns:a16="http://schemas.microsoft.com/office/drawing/2014/main" id="{1526F643-DBEC-1DBB-AD55-CACC0AFD2D6A}"/>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5819950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D2B9C-6DAB-FD51-0E60-51486E28B915}"/>
              </a:ext>
            </a:extLst>
          </p:cNvPr>
          <p:cNvSpPr>
            <a:spLocks noGrp="1"/>
          </p:cNvSpPr>
          <p:nvPr>
            <p:ph type="title"/>
          </p:nvPr>
        </p:nvSpPr>
        <p:spPr/>
        <p:txBody>
          <a:bodyPr/>
          <a:lstStyle/>
          <a:p>
            <a:r>
              <a:rPr lang="en-GB" dirty="0"/>
              <a:t>The art of presenting</a:t>
            </a:r>
          </a:p>
        </p:txBody>
      </p:sp>
      <p:sp>
        <p:nvSpPr>
          <p:cNvPr id="5" name="Content Placeholder 4">
            <a:extLst>
              <a:ext uri="{FF2B5EF4-FFF2-40B4-BE49-F238E27FC236}">
                <a16:creationId xmlns:a16="http://schemas.microsoft.com/office/drawing/2014/main" id="{E47BEE24-6CD3-0366-4EEB-0BDF93D220CC}"/>
              </a:ext>
            </a:extLst>
          </p:cNvPr>
          <p:cNvSpPr>
            <a:spLocks noGrp="1"/>
          </p:cNvSpPr>
          <p:nvPr>
            <p:ph idx="1"/>
          </p:nvPr>
        </p:nvSpPr>
        <p:spPr/>
        <p:txBody>
          <a:bodyPr/>
          <a:lstStyle/>
          <a:p>
            <a:r>
              <a:rPr lang="en-GB" dirty="0"/>
              <a:t>You are the </a:t>
            </a:r>
            <a:r>
              <a:rPr lang="en-GB" dirty="0" err="1"/>
              <a:t>presentor</a:t>
            </a:r>
            <a:r>
              <a:rPr lang="en-GB" dirty="0"/>
              <a:t> and creator</a:t>
            </a:r>
          </a:p>
          <a:p>
            <a:r>
              <a:rPr lang="en-GB" dirty="0"/>
              <a:t>Death by PWP !</a:t>
            </a:r>
          </a:p>
          <a:p>
            <a:r>
              <a:rPr lang="fr-BE" dirty="0" err="1"/>
              <a:t>Drawing</a:t>
            </a:r>
            <a:r>
              <a:rPr lang="fr-BE" dirty="0"/>
              <a:t> on a </a:t>
            </a:r>
            <a:r>
              <a:rPr lang="fr-BE" dirty="0" err="1"/>
              <a:t>flipchart</a:t>
            </a:r>
            <a:r>
              <a:rPr lang="fr-BE" dirty="0"/>
              <a:t> – the </a:t>
            </a:r>
            <a:r>
              <a:rPr lang="fr-BE" dirty="0" err="1"/>
              <a:t>old</a:t>
            </a:r>
            <a:r>
              <a:rPr lang="fr-BE" dirty="0"/>
              <a:t> </a:t>
            </a:r>
            <a:r>
              <a:rPr lang="fr-BE" dirty="0" err="1"/>
              <a:t>school</a:t>
            </a:r>
            <a:endParaRPr lang="fr-BE" dirty="0"/>
          </a:p>
          <a:p>
            <a:r>
              <a:rPr lang="fr-BE" dirty="0"/>
              <a:t>Room setup</a:t>
            </a:r>
          </a:p>
          <a:p>
            <a:r>
              <a:rPr lang="en-GB" dirty="0"/>
              <a:t>Power to your point</a:t>
            </a:r>
          </a:p>
          <a:p>
            <a:endParaRPr lang="en-GB" dirty="0"/>
          </a:p>
        </p:txBody>
      </p:sp>
    </p:spTree>
    <p:extLst>
      <p:ext uri="{BB962C8B-B14F-4D97-AF65-F5344CB8AC3E}">
        <p14:creationId xmlns:p14="http://schemas.microsoft.com/office/powerpoint/2010/main" val="8469759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BF9E5-52F3-EDF2-C583-42216E36FEB2}"/>
              </a:ext>
            </a:extLst>
          </p:cNvPr>
          <p:cNvSpPr>
            <a:spLocks noGrp="1"/>
          </p:cNvSpPr>
          <p:nvPr>
            <p:ph type="title"/>
          </p:nvPr>
        </p:nvSpPr>
        <p:spPr/>
        <p:txBody>
          <a:bodyPr/>
          <a:lstStyle/>
          <a:p>
            <a:r>
              <a:rPr lang="en-GB" dirty="0"/>
              <a:t>Meaningful formatting</a:t>
            </a:r>
          </a:p>
        </p:txBody>
      </p:sp>
      <p:graphicFrame>
        <p:nvGraphicFramePr>
          <p:cNvPr id="4" name="Chart 3">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4177817954"/>
              </p:ext>
            </p:extLst>
          </p:nvPr>
        </p:nvGraphicFramePr>
        <p:xfrm>
          <a:off x="3093720" y="1507236"/>
          <a:ext cx="6004560" cy="44211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63874368"/>
      </p:ext>
    </p:extLst>
  </p:cSld>
  <p:clrMapOvr>
    <a:masterClrMapping/>
  </p:clrMapOvr>
  <p:transition spd="slow">
    <p:push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BF9E5-52F3-EDF2-C583-42216E36FEB2}"/>
              </a:ext>
            </a:extLst>
          </p:cNvPr>
          <p:cNvSpPr>
            <a:spLocks noGrp="1"/>
          </p:cNvSpPr>
          <p:nvPr>
            <p:ph type="title"/>
          </p:nvPr>
        </p:nvSpPr>
        <p:spPr/>
        <p:txBody>
          <a:bodyPr/>
          <a:lstStyle/>
          <a:p>
            <a:r>
              <a:rPr lang="en-GB" dirty="0"/>
              <a:t>Meaningful formatting</a:t>
            </a:r>
          </a:p>
        </p:txBody>
      </p:sp>
      <p:graphicFrame>
        <p:nvGraphicFramePr>
          <p:cNvPr id="5" name="Chart 4">
            <a:extLst>
              <a:ext uri="{FF2B5EF4-FFF2-40B4-BE49-F238E27FC236}">
                <a16:creationId xmlns:a16="http://schemas.microsoft.com/office/drawing/2014/main" id="{A1185365-9C45-4A50-F0D7-F30EED7F0711}"/>
              </a:ext>
            </a:extLst>
          </p:cNvPr>
          <p:cNvGraphicFramePr>
            <a:graphicFrameLocks/>
          </p:cNvGraphicFramePr>
          <p:nvPr>
            <p:extLst>
              <p:ext uri="{D42A27DB-BD31-4B8C-83A1-F6EECF244321}">
                <p14:modId xmlns:p14="http://schemas.microsoft.com/office/powerpoint/2010/main" val="645809864"/>
              </p:ext>
            </p:extLst>
          </p:nvPr>
        </p:nvGraphicFramePr>
        <p:xfrm>
          <a:off x="2813050" y="1383891"/>
          <a:ext cx="6565900" cy="49407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93541388"/>
      </p:ext>
    </p:extLst>
  </p:cSld>
  <p:clrMapOvr>
    <a:masterClrMapping/>
  </p:clrMapOvr>
  <p:transition spd="slow">
    <p:push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t>Excel Chart – </a:t>
            </a:r>
            <a:r>
              <a:rPr lang="nl-BE" dirty="0" err="1"/>
              <a:t>with</a:t>
            </a:r>
            <a:r>
              <a:rPr lang="nl-BE" dirty="0"/>
              <a:t> data</a:t>
            </a:r>
            <a:endParaRPr lang="fr-BE" dirty="0"/>
          </a:p>
        </p:txBody>
      </p:sp>
      <p:graphicFrame>
        <p:nvGraphicFramePr>
          <p:cNvPr id="8" name="Chart 1">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1271006927"/>
              </p:ext>
            </p:extLst>
          </p:nvPr>
        </p:nvGraphicFramePr>
        <p:xfrm>
          <a:off x="1938528" y="1481328"/>
          <a:ext cx="8735488" cy="43708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407147"/>
      </p:ext>
    </p:extLst>
  </p:cSld>
  <p:clrMapOvr>
    <a:masterClrMapping/>
  </p:clrMapOvr>
  <p:transition spd="slow">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6" presetClass="emph" presetSubtype="0" fill="hold" grpId="1" nodeType="click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subTnLst>
                                    <p:animClr clrSpc="rgb" dir="cw">
                                      <p:cBhvr override="childStyle">
                                        <p:cTn dur="1" fill="hold" display="0" masterRel="nextClick" afterEffect="1"/>
                                        <p:tgtEl>
                                          <p:spTgt spid="8"/>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AsOne/>
      </p:bldGraphic>
      <p:bldGraphic spid="8" grpId="1" uiExpand="1">
        <p:bldAsOne/>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nl-BE" dirty="0"/>
              <a:t>Excel Chart 2 : </a:t>
            </a:r>
            <a:r>
              <a:rPr lang="nl-BE" sz="4400" dirty="0"/>
              <a:t>Sales Pallets in Oostende</a:t>
            </a:r>
            <a:endParaRPr lang="fr-BE" dirty="0"/>
          </a:p>
        </p:txBody>
      </p:sp>
      <p:graphicFrame>
        <p:nvGraphicFramePr>
          <p:cNvPr id="3" name="Chart 2">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4279147605"/>
              </p:ext>
            </p:extLst>
          </p:nvPr>
        </p:nvGraphicFramePr>
        <p:xfrm>
          <a:off x="1097280" y="1417682"/>
          <a:ext cx="3931920" cy="23496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C4035B22-7D38-6244-5287-77E8B5EFE357}"/>
              </a:ext>
            </a:extLst>
          </p:cNvPr>
          <p:cNvGraphicFramePr>
            <a:graphicFrameLocks/>
          </p:cNvGraphicFramePr>
          <p:nvPr>
            <p:extLst>
              <p:ext uri="{D42A27DB-BD31-4B8C-83A1-F6EECF244321}">
                <p14:modId xmlns:p14="http://schemas.microsoft.com/office/powerpoint/2010/main" val="3156111242"/>
              </p:ext>
            </p:extLst>
          </p:nvPr>
        </p:nvGraphicFramePr>
        <p:xfrm>
          <a:off x="6915914" y="1417682"/>
          <a:ext cx="3931920" cy="234964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Chart 4">
            <a:extLst>
              <a:ext uri="{FF2B5EF4-FFF2-40B4-BE49-F238E27FC236}">
                <a16:creationId xmlns:a16="http://schemas.microsoft.com/office/drawing/2014/main" id="{B20625E1-2E1F-7A79-D551-7C8FCBDE9C5D}"/>
              </a:ext>
            </a:extLst>
          </p:cNvPr>
          <p:cNvGraphicFramePr>
            <a:graphicFrameLocks/>
          </p:cNvGraphicFramePr>
          <p:nvPr>
            <p:extLst>
              <p:ext uri="{D42A27DB-BD31-4B8C-83A1-F6EECF244321}">
                <p14:modId xmlns:p14="http://schemas.microsoft.com/office/powerpoint/2010/main" val="2269072803"/>
              </p:ext>
            </p:extLst>
          </p:nvPr>
        </p:nvGraphicFramePr>
        <p:xfrm>
          <a:off x="1097280" y="3746355"/>
          <a:ext cx="3931920" cy="23496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Chart 5">
            <a:extLst>
              <a:ext uri="{FF2B5EF4-FFF2-40B4-BE49-F238E27FC236}">
                <a16:creationId xmlns:a16="http://schemas.microsoft.com/office/drawing/2014/main" id="{72272DBB-E358-3F62-E2C5-D62C568E177A}"/>
              </a:ext>
            </a:extLst>
          </p:cNvPr>
          <p:cNvGraphicFramePr>
            <a:graphicFrameLocks/>
          </p:cNvGraphicFramePr>
          <p:nvPr>
            <p:extLst>
              <p:ext uri="{D42A27DB-BD31-4B8C-83A1-F6EECF244321}">
                <p14:modId xmlns:p14="http://schemas.microsoft.com/office/powerpoint/2010/main" val="1976927691"/>
              </p:ext>
            </p:extLst>
          </p:nvPr>
        </p:nvGraphicFramePr>
        <p:xfrm>
          <a:off x="6915914" y="3746355"/>
          <a:ext cx="3931920" cy="234964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61848708"/>
      </p:ext>
    </p:extLst>
  </p:cSld>
  <p:clrMapOvr>
    <a:masterClrMapping/>
  </p:clrMapOvr>
  <p:transition spd="slow">
    <p:push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84C6E-B89E-A2BA-E272-09EFC6A54651}"/>
              </a:ext>
            </a:extLst>
          </p:cNvPr>
          <p:cNvSpPr>
            <a:spLocks noGrp="1"/>
          </p:cNvSpPr>
          <p:nvPr>
            <p:ph type="title"/>
          </p:nvPr>
        </p:nvSpPr>
        <p:spPr/>
        <p:txBody>
          <a:bodyPr/>
          <a:lstStyle/>
          <a:p>
            <a:r>
              <a:rPr lang="nl-BE" dirty="0"/>
              <a:t>Chart </a:t>
            </a:r>
            <a:r>
              <a:rPr lang="nl-BE" dirty="0" err="1"/>
              <a:t>examples</a:t>
            </a:r>
            <a:endParaRPr lang="en-GB" dirty="0"/>
          </a:p>
        </p:txBody>
      </p:sp>
      <p:pic>
        <p:nvPicPr>
          <p:cNvPr id="4" name="Picture 3">
            <a:extLst>
              <a:ext uri="{FF2B5EF4-FFF2-40B4-BE49-F238E27FC236}">
                <a16:creationId xmlns:a16="http://schemas.microsoft.com/office/drawing/2014/main" id="{0217273E-F358-50E0-5FC1-D91B19525906}"/>
              </a:ext>
            </a:extLst>
          </p:cNvPr>
          <p:cNvPicPr>
            <a:picLocks noChangeAspect="1"/>
          </p:cNvPicPr>
          <p:nvPr/>
        </p:nvPicPr>
        <p:blipFill>
          <a:blip r:embed="rId2"/>
          <a:stretch>
            <a:fillRect/>
          </a:stretch>
        </p:blipFill>
        <p:spPr>
          <a:xfrm>
            <a:off x="6899564" y="960398"/>
            <a:ext cx="4696717" cy="2525972"/>
          </a:xfrm>
          <a:prstGeom prst="rect">
            <a:avLst/>
          </a:prstGeom>
        </p:spPr>
      </p:pic>
      <p:pic>
        <p:nvPicPr>
          <p:cNvPr id="11" name="Picture 10">
            <a:extLst>
              <a:ext uri="{FF2B5EF4-FFF2-40B4-BE49-F238E27FC236}">
                <a16:creationId xmlns:a16="http://schemas.microsoft.com/office/drawing/2014/main" id="{929AE7C4-35D4-BE6F-4DFF-3B5E0C0562A4}"/>
              </a:ext>
            </a:extLst>
          </p:cNvPr>
          <p:cNvPicPr>
            <a:picLocks noChangeAspect="1"/>
          </p:cNvPicPr>
          <p:nvPr/>
        </p:nvPicPr>
        <p:blipFill>
          <a:blip r:embed="rId3"/>
          <a:stretch>
            <a:fillRect/>
          </a:stretch>
        </p:blipFill>
        <p:spPr>
          <a:xfrm>
            <a:off x="4062455" y="3645097"/>
            <a:ext cx="4067090" cy="2334814"/>
          </a:xfrm>
          <a:prstGeom prst="rect">
            <a:avLst/>
          </a:prstGeom>
        </p:spPr>
      </p:pic>
      <p:grpSp>
        <p:nvGrpSpPr>
          <p:cNvPr id="9" name="Group 8">
            <a:extLst>
              <a:ext uri="{FF2B5EF4-FFF2-40B4-BE49-F238E27FC236}">
                <a16:creationId xmlns:a16="http://schemas.microsoft.com/office/drawing/2014/main" id="{4F8BAE44-AEF4-8FE2-585B-B505939EFD0B}"/>
              </a:ext>
            </a:extLst>
          </p:cNvPr>
          <p:cNvGrpSpPr/>
          <p:nvPr/>
        </p:nvGrpSpPr>
        <p:grpSpPr>
          <a:xfrm>
            <a:off x="827481" y="1345332"/>
            <a:ext cx="3410326" cy="2299766"/>
            <a:chOff x="1647067" y="1512444"/>
            <a:chExt cx="3756206" cy="2533012"/>
          </a:xfrm>
        </p:grpSpPr>
        <p:pic>
          <p:nvPicPr>
            <p:cNvPr id="6" name="Picture 5">
              <a:extLst>
                <a:ext uri="{FF2B5EF4-FFF2-40B4-BE49-F238E27FC236}">
                  <a16:creationId xmlns:a16="http://schemas.microsoft.com/office/drawing/2014/main" id="{6C347B2D-F6CA-90BB-2B3F-22A384C39F53}"/>
                </a:ext>
              </a:extLst>
            </p:cNvPr>
            <p:cNvPicPr>
              <a:picLocks noChangeAspect="1"/>
            </p:cNvPicPr>
            <p:nvPr/>
          </p:nvPicPr>
          <p:blipFill>
            <a:blip r:embed="rId4"/>
            <a:stretch>
              <a:fillRect/>
            </a:stretch>
          </p:blipFill>
          <p:spPr>
            <a:xfrm>
              <a:off x="1834341" y="2062716"/>
              <a:ext cx="3568932" cy="1982740"/>
            </a:xfrm>
            <a:prstGeom prst="rect">
              <a:avLst/>
            </a:prstGeom>
          </p:spPr>
        </p:pic>
        <p:pic>
          <p:nvPicPr>
            <p:cNvPr id="8" name="Picture 7">
              <a:extLst>
                <a:ext uri="{FF2B5EF4-FFF2-40B4-BE49-F238E27FC236}">
                  <a16:creationId xmlns:a16="http://schemas.microsoft.com/office/drawing/2014/main" id="{17B5757E-5D36-F345-3EA4-34351EE4698B}"/>
                </a:ext>
              </a:extLst>
            </p:cNvPr>
            <p:cNvPicPr>
              <a:picLocks noChangeAspect="1"/>
            </p:cNvPicPr>
            <p:nvPr/>
          </p:nvPicPr>
          <p:blipFill>
            <a:blip r:embed="rId5">
              <a:alphaModFix/>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1647067" y="1512444"/>
              <a:ext cx="3756206" cy="1770546"/>
            </a:xfrm>
            <a:prstGeom prst="rect">
              <a:avLst/>
            </a:prstGeom>
          </p:spPr>
        </p:pic>
      </p:grpSp>
    </p:spTree>
    <p:extLst>
      <p:ext uri="{BB962C8B-B14F-4D97-AF65-F5344CB8AC3E}">
        <p14:creationId xmlns:p14="http://schemas.microsoft.com/office/powerpoint/2010/main" val="9611891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3D7A2-1735-6635-185B-397E40D6BFE2}"/>
              </a:ext>
            </a:extLst>
          </p:cNvPr>
          <p:cNvSpPr>
            <a:spLocks noGrp="1"/>
          </p:cNvSpPr>
          <p:nvPr>
            <p:ph type="title"/>
          </p:nvPr>
        </p:nvSpPr>
        <p:spPr/>
        <p:txBody>
          <a:bodyPr/>
          <a:lstStyle/>
          <a:p>
            <a:r>
              <a:rPr lang="nl-BE" dirty="0" err="1"/>
              <a:t>Showing</a:t>
            </a:r>
            <a:r>
              <a:rPr lang="nl-BE" dirty="0"/>
              <a:t> </a:t>
            </a:r>
            <a:r>
              <a:rPr lang="nl-BE" dirty="0" err="1"/>
              <a:t>tabular</a:t>
            </a:r>
            <a:r>
              <a:rPr lang="nl-BE" dirty="0"/>
              <a:t> data</a:t>
            </a:r>
            <a:endParaRPr lang="en-GB" dirty="0"/>
          </a:p>
        </p:txBody>
      </p:sp>
      <p:sp>
        <p:nvSpPr>
          <p:cNvPr id="3" name="Content Placeholder 2">
            <a:extLst>
              <a:ext uri="{FF2B5EF4-FFF2-40B4-BE49-F238E27FC236}">
                <a16:creationId xmlns:a16="http://schemas.microsoft.com/office/drawing/2014/main" id="{F0E181B9-751D-CA86-68EB-D09F259437FD}"/>
              </a:ext>
            </a:extLst>
          </p:cNvPr>
          <p:cNvSpPr>
            <a:spLocks noGrp="1"/>
          </p:cNvSpPr>
          <p:nvPr>
            <p:ph idx="1"/>
          </p:nvPr>
        </p:nvSpPr>
        <p:spPr/>
        <p:txBody>
          <a:bodyPr/>
          <a:lstStyle/>
          <a:p>
            <a:r>
              <a:rPr lang="en-GB" dirty="0"/>
              <a:t>Open format</a:t>
            </a:r>
          </a:p>
          <a:p>
            <a:r>
              <a:rPr lang="en-GB" dirty="0"/>
              <a:t>Reading direction with banded rows / columns</a:t>
            </a:r>
          </a:p>
          <a:p>
            <a:r>
              <a:rPr lang="en-GB" dirty="0"/>
              <a:t>Focus attention on what you want to discuss</a:t>
            </a:r>
          </a:p>
          <a:p>
            <a:r>
              <a:rPr lang="en-GB" dirty="0"/>
              <a:t>Choose graphs where possible</a:t>
            </a:r>
          </a:p>
        </p:txBody>
      </p:sp>
      <p:graphicFrame>
        <p:nvGraphicFramePr>
          <p:cNvPr id="4" name="Table 3">
            <a:extLst>
              <a:ext uri="{FF2B5EF4-FFF2-40B4-BE49-F238E27FC236}">
                <a16:creationId xmlns:a16="http://schemas.microsoft.com/office/drawing/2014/main" id="{EBD2B31F-72CB-7CD5-1260-4E693A3144D9}"/>
              </a:ext>
            </a:extLst>
          </p:cNvPr>
          <p:cNvGraphicFramePr>
            <a:graphicFrameLocks noGrp="1"/>
          </p:cNvGraphicFramePr>
          <p:nvPr>
            <p:extLst>
              <p:ext uri="{D42A27DB-BD31-4B8C-83A1-F6EECF244321}">
                <p14:modId xmlns:p14="http://schemas.microsoft.com/office/powerpoint/2010/main" val="1656915321"/>
              </p:ext>
            </p:extLst>
          </p:nvPr>
        </p:nvGraphicFramePr>
        <p:xfrm>
          <a:off x="3664865" y="3912243"/>
          <a:ext cx="4862270" cy="1835245"/>
        </p:xfrm>
        <a:graphic>
          <a:graphicData uri="http://schemas.openxmlformats.org/drawingml/2006/table">
            <a:tbl>
              <a:tblPr bandCol="1">
                <a:tableStyleId>{C083E6E3-FA7D-4D7B-A595-EF9225AFEA82}</a:tableStyleId>
              </a:tblPr>
              <a:tblGrid>
                <a:gridCol w="1609462">
                  <a:extLst>
                    <a:ext uri="{9D8B030D-6E8A-4147-A177-3AD203B41FA5}">
                      <a16:colId xmlns:a16="http://schemas.microsoft.com/office/drawing/2014/main" val="3292868414"/>
                    </a:ext>
                  </a:extLst>
                </a:gridCol>
                <a:gridCol w="813202">
                  <a:extLst>
                    <a:ext uri="{9D8B030D-6E8A-4147-A177-3AD203B41FA5}">
                      <a16:colId xmlns:a16="http://schemas.microsoft.com/office/drawing/2014/main" val="3033007175"/>
                    </a:ext>
                  </a:extLst>
                </a:gridCol>
                <a:gridCol w="813202">
                  <a:extLst>
                    <a:ext uri="{9D8B030D-6E8A-4147-A177-3AD203B41FA5}">
                      <a16:colId xmlns:a16="http://schemas.microsoft.com/office/drawing/2014/main" val="2594632281"/>
                    </a:ext>
                  </a:extLst>
                </a:gridCol>
                <a:gridCol w="813202">
                  <a:extLst>
                    <a:ext uri="{9D8B030D-6E8A-4147-A177-3AD203B41FA5}">
                      <a16:colId xmlns:a16="http://schemas.microsoft.com/office/drawing/2014/main" val="782170908"/>
                    </a:ext>
                  </a:extLst>
                </a:gridCol>
                <a:gridCol w="813202">
                  <a:extLst>
                    <a:ext uri="{9D8B030D-6E8A-4147-A177-3AD203B41FA5}">
                      <a16:colId xmlns:a16="http://schemas.microsoft.com/office/drawing/2014/main" val="339259505"/>
                    </a:ext>
                  </a:extLst>
                </a:gridCol>
              </a:tblGrid>
              <a:tr h="367049">
                <a:tc>
                  <a:txBody>
                    <a:bodyPr/>
                    <a:lstStyle/>
                    <a:p>
                      <a:pPr algn="l" fontAlgn="b"/>
                      <a:r>
                        <a:rPr lang="en-GB" sz="1800" u="none" strike="noStrike">
                          <a:effectLst/>
                        </a:rPr>
                        <a:t> </a:t>
                      </a:r>
                      <a:endParaRPr lang="en-GB" sz="1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dirty="0">
                          <a:effectLst/>
                        </a:rPr>
                        <a:t>2018</a:t>
                      </a:r>
                      <a:endParaRPr lang="en-GB" sz="18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a:effectLst/>
                        </a:rPr>
                        <a:t>2019</a:t>
                      </a:r>
                      <a:endParaRPr lang="en-GB" sz="18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dirty="0">
                          <a:effectLst/>
                        </a:rPr>
                        <a:t>2020</a:t>
                      </a:r>
                      <a:endParaRPr lang="en-GB" sz="1800" b="1"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a:effectLst/>
                        </a:rPr>
                        <a:t>2021</a:t>
                      </a:r>
                      <a:endParaRPr lang="en-GB" sz="18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98548347"/>
                  </a:ext>
                </a:extLst>
              </a:tr>
              <a:tr h="367049">
                <a:tc>
                  <a:txBody>
                    <a:bodyPr/>
                    <a:lstStyle/>
                    <a:p>
                      <a:pPr algn="l" fontAlgn="b"/>
                      <a:r>
                        <a:rPr lang="en-GB" sz="1800" u="none" strike="noStrike">
                          <a:effectLst/>
                        </a:rPr>
                        <a:t>Gent</a:t>
                      </a:r>
                      <a:endParaRPr lang="en-GB" sz="18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dirty="0">
                          <a:effectLst/>
                        </a:rPr>
                        <a:t>250</a:t>
                      </a:r>
                      <a:endParaRPr lang="en-GB"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a:effectLst/>
                        </a:rPr>
                        <a:t>265</a:t>
                      </a:r>
                      <a:endParaRPr lang="en-GB" sz="1800" b="0" i="0" u="none" strike="noStrike">
                        <a:solidFill>
                          <a:srgbClr val="000000"/>
                        </a:solidFill>
                        <a:effectLst/>
                        <a:latin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tcPr>
                </a:tc>
                <a:tc>
                  <a:txBody>
                    <a:bodyPr/>
                    <a:lstStyle/>
                    <a:p>
                      <a:pPr algn="r" fontAlgn="b"/>
                      <a:r>
                        <a:rPr lang="en-GB" sz="1800" u="none" strike="noStrike" dirty="0">
                          <a:effectLst/>
                        </a:rPr>
                        <a:t>286</a:t>
                      </a:r>
                      <a:endParaRPr lang="en-GB" sz="18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a:effectLst/>
                        </a:rPr>
                        <a:t>303</a:t>
                      </a:r>
                      <a:endParaRPr lang="en-GB"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39874523"/>
                  </a:ext>
                </a:extLst>
              </a:tr>
              <a:tr h="367049">
                <a:tc>
                  <a:txBody>
                    <a:bodyPr/>
                    <a:lstStyle/>
                    <a:p>
                      <a:pPr algn="l" fontAlgn="b"/>
                      <a:r>
                        <a:rPr lang="en-GB" sz="1800" u="none" strike="noStrike">
                          <a:effectLst/>
                        </a:rPr>
                        <a:t>Brussel</a:t>
                      </a:r>
                      <a:endParaRPr lang="en-GB" sz="18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dirty="0">
                          <a:effectLst/>
                        </a:rPr>
                        <a:t>300</a:t>
                      </a:r>
                      <a:endParaRPr lang="en-GB" sz="1800" b="0" i="0" u="none" strike="noStrike" dirty="0">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GB" sz="1800" u="none" strike="noStrike" dirty="0">
                          <a:effectLst/>
                        </a:rPr>
                        <a:t>500</a:t>
                      </a:r>
                      <a:endParaRPr lang="en-GB" sz="18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GB" sz="1800" u="none" strike="noStrike">
                          <a:effectLst/>
                        </a:rPr>
                        <a:t>250</a:t>
                      </a:r>
                      <a:endParaRPr lang="en-GB" sz="18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tcPr>
                </a:tc>
                <a:tc>
                  <a:txBody>
                    <a:bodyPr/>
                    <a:lstStyle/>
                    <a:p>
                      <a:pPr algn="r" fontAlgn="b"/>
                      <a:r>
                        <a:rPr lang="en-GB" sz="1800" u="none" strike="noStrike">
                          <a:effectLst/>
                        </a:rPr>
                        <a:t>229</a:t>
                      </a:r>
                      <a:endParaRPr lang="en-GB" sz="18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75490298"/>
                  </a:ext>
                </a:extLst>
              </a:tr>
              <a:tr h="367049">
                <a:tc>
                  <a:txBody>
                    <a:bodyPr/>
                    <a:lstStyle/>
                    <a:p>
                      <a:pPr algn="l" fontAlgn="b"/>
                      <a:r>
                        <a:rPr lang="en-GB" sz="1800" u="none" strike="noStrike">
                          <a:effectLst/>
                        </a:rPr>
                        <a:t>Antwerpen</a:t>
                      </a:r>
                      <a:endParaRPr lang="en-GB" sz="18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a:effectLst/>
                        </a:rPr>
                        <a:t>350</a:t>
                      </a:r>
                      <a:endParaRPr lang="en-GB" sz="1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dirty="0">
                          <a:effectLst/>
                        </a:rPr>
                        <a:t>400</a:t>
                      </a:r>
                      <a:endParaRPr lang="en-GB" sz="1800" b="0" i="0" u="none" strike="noStrike" dirty="0">
                        <a:solidFill>
                          <a:srgbClr val="000000"/>
                        </a:solidFill>
                        <a:effectLst/>
                        <a:latin typeface="Calibri" panose="020F0502020204030204" pitchFamily="34" charset="0"/>
                      </a:endParaRPr>
                    </a:p>
                  </a:txBody>
                  <a:tcPr marL="9525" marR="9525" marT="9525" marB="0" anchor="b">
                    <a:lnT w="12700" cap="flat" cmpd="sng" algn="ctr">
                      <a:solidFill>
                        <a:schemeClr val="tx1"/>
                      </a:solidFill>
                      <a:prstDash val="solid"/>
                      <a:round/>
                      <a:headEnd type="none" w="med" len="med"/>
                      <a:tailEnd type="none" w="med" len="med"/>
                    </a:lnT>
                  </a:tcPr>
                </a:tc>
                <a:tc>
                  <a:txBody>
                    <a:bodyPr/>
                    <a:lstStyle/>
                    <a:p>
                      <a:pPr algn="r" fontAlgn="b"/>
                      <a:r>
                        <a:rPr lang="en-GB" sz="1800" u="none" strike="noStrike">
                          <a:effectLst/>
                        </a:rPr>
                        <a:t>359</a:t>
                      </a:r>
                      <a:endParaRPr lang="en-GB" sz="1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a:effectLst/>
                        </a:rPr>
                        <a:t>320</a:t>
                      </a:r>
                      <a:endParaRPr lang="en-GB" sz="1800" b="0" i="0" u="none" strike="noStrike">
                        <a:solidFill>
                          <a:srgbClr val="000000"/>
                        </a:solidFill>
                        <a:effectLst/>
                        <a:latin typeface="Calibri" panose="020F0502020204030204" pitchFamily="34" charset="0"/>
                      </a:endParaRPr>
                    </a:p>
                  </a:txBody>
                  <a:tcPr marL="9525" marR="9525" marT="9525"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020017"/>
                  </a:ext>
                </a:extLst>
              </a:tr>
              <a:tr h="367049">
                <a:tc>
                  <a:txBody>
                    <a:bodyPr/>
                    <a:lstStyle/>
                    <a:p>
                      <a:pPr algn="l" fontAlgn="b"/>
                      <a:r>
                        <a:rPr lang="en-GB" sz="1800" u="none" strike="noStrike">
                          <a:effectLst/>
                        </a:rPr>
                        <a:t>Oostende</a:t>
                      </a:r>
                      <a:endParaRPr lang="en-GB" sz="18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a:effectLst/>
                        </a:rPr>
                        <a:t>56</a:t>
                      </a:r>
                      <a:endParaRPr lang="en-GB" sz="1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a:effectLst/>
                        </a:rPr>
                        <a:t>68</a:t>
                      </a:r>
                      <a:endParaRPr lang="en-GB" sz="18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GB" sz="1800" u="none" strike="noStrike">
                          <a:effectLst/>
                        </a:rPr>
                        <a:t>98</a:t>
                      </a:r>
                      <a:endParaRPr lang="en-GB" sz="1800" b="0" i="0" u="none" strike="noStrike">
                        <a:solidFill>
                          <a:srgbClr val="000000"/>
                        </a:solidFill>
                        <a:effectLst/>
                        <a:latin typeface="Calibri" panose="020F0502020204030204" pitchFamily="34" charset="0"/>
                      </a:endParaRP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GB" sz="1800" u="none" strike="noStrike" dirty="0">
                          <a:effectLst/>
                        </a:rPr>
                        <a:t>450</a:t>
                      </a:r>
                      <a:endParaRPr lang="en-GB" sz="1800" b="0" i="0" u="none" strike="noStrike" dirty="0">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1765351"/>
                  </a:ext>
                </a:extLst>
              </a:tr>
            </a:tbl>
          </a:graphicData>
        </a:graphic>
      </p:graphicFrame>
    </p:spTree>
    <p:extLst>
      <p:ext uri="{BB962C8B-B14F-4D97-AF65-F5344CB8AC3E}">
        <p14:creationId xmlns:p14="http://schemas.microsoft.com/office/powerpoint/2010/main" val="2491688915"/>
      </p:ext>
    </p:extLst>
  </p:cSld>
  <p:clrMapOvr>
    <a:masterClrMapping/>
  </p:clrMapOvr>
  <p:transition spd="slow">
    <p:push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5D86E-4D82-C8ED-7D3A-9178FFCF1C77}"/>
              </a:ext>
            </a:extLst>
          </p:cNvPr>
          <p:cNvSpPr>
            <a:spLocks noGrp="1"/>
          </p:cNvSpPr>
          <p:nvPr>
            <p:ph type="title"/>
          </p:nvPr>
        </p:nvSpPr>
        <p:spPr/>
        <p:txBody>
          <a:bodyPr/>
          <a:lstStyle/>
          <a:p>
            <a:r>
              <a:rPr lang="nl-BE" dirty="0"/>
              <a:t>Data </a:t>
            </a:r>
            <a:r>
              <a:rPr lang="nl-BE" dirty="0" err="1"/>
              <a:t>rendering</a:t>
            </a:r>
            <a:r>
              <a:rPr lang="nl-BE" dirty="0"/>
              <a:t> </a:t>
            </a:r>
            <a:r>
              <a:rPr lang="nl-BE" dirty="0" err="1"/>
              <a:t>with</a:t>
            </a:r>
            <a:r>
              <a:rPr lang="nl-BE" dirty="0"/>
              <a:t> </a:t>
            </a:r>
            <a:r>
              <a:rPr lang="nl-BE" dirty="0" err="1"/>
              <a:t>charts</a:t>
            </a:r>
            <a:endParaRPr lang="en-GB" dirty="0"/>
          </a:p>
        </p:txBody>
      </p:sp>
      <p:sp>
        <p:nvSpPr>
          <p:cNvPr id="3" name="Content Placeholder 2">
            <a:extLst>
              <a:ext uri="{FF2B5EF4-FFF2-40B4-BE49-F238E27FC236}">
                <a16:creationId xmlns:a16="http://schemas.microsoft.com/office/drawing/2014/main" id="{A11D482F-1EC6-8665-5291-3FA4A0735CC0}"/>
              </a:ext>
            </a:extLst>
          </p:cNvPr>
          <p:cNvSpPr>
            <a:spLocks noGrp="1"/>
          </p:cNvSpPr>
          <p:nvPr>
            <p:ph idx="1"/>
          </p:nvPr>
        </p:nvSpPr>
        <p:spPr>
          <a:xfrm>
            <a:off x="1097281" y="1453495"/>
            <a:ext cx="3682537" cy="4415599"/>
          </a:xfrm>
        </p:spPr>
        <p:txBody>
          <a:bodyPr>
            <a:normAutofit fontScale="92500"/>
          </a:bodyPr>
          <a:lstStyle/>
          <a:p>
            <a:r>
              <a:rPr lang="en-GB" dirty="0"/>
              <a:t>Use axis titles if appropriate</a:t>
            </a:r>
          </a:p>
          <a:p>
            <a:r>
              <a:rPr lang="en-GB" dirty="0"/>
              <a:t>The value of trend lines</a:t>
            </a:r>
          </a:p>
          <a:p>
            <a:r>
              <a:rPr lang="en-GB" dirty="0"/>
              <a:t>Columns = comparison Lines = evolution</a:t>
            </a:r>
          </a:p>
          <a:p>
            <a:r>
              <a:rPr lang="en-GB" dirty="0"/>
              <a:t>Format/animate what should get the focus</a:t>
            </a:r>
          </a:p>
          <a:p>
            <a:r>
              <a:rPr lang="en-GB" dirty="0"/>
              <a:t>Consider using graphic labels and/or Smart-Arts</a:t>
            </a:r>
          </a:p>
        </p:txBody>
      </p:sp>
      <p:graphicFrame>
        <p:nvGraphicFramePr>
          <p:cNvPr id="4" name="Chart 3">
            <a:extLst>
              <a:ext uri="{FF2B5EF4-FFF2-40B4-BE49-F238E27FC236}">
                <a16:creationId xmlns:a16="http://schemas.microsoft.com/office/drawing/2014/main" id="{00000000-0008-0000-0000-000004000000}"/>
              </a:ext>
            </a:extLst>
          </p:cNvPr>
          <p:cNvGraphicFramePr>
            <a:graphicFrameLocks/>
          </p:cNvGraphicFramePr>
          <p:nvPr>
            <p:extLst>
              <p:ext uri="{D42A27DB-BD31-4B8C-83A1-F6EECF244321}">
                <p14:modId xmlns:p14="http://schemas.microsoft.com/office/powerpoint/2010/main" val="632553295"/>
              </p:ext>
            </p:extLst>
          </p:nvPr>
        </p:nvGraphicFramePr>
        <p:xfrm>
          <a:off x="5167745" y="1866418"/>
          <a:ext cx="6380330" cy="327361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93171285"/>
      </p:ext>
    </p:extLst>
  </p:cSld>
  <p:clrMapOvr>
    <a:masterClrMapping/>
  </p:clrMapOvr>
  <p:transition spd="slow">
    <p:push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350BC-0F2A-BA17-C3E8-AB691E4D0F18}"/>
              </a:ext>
            </a:extLst>
          </p:cNvPr>
          <p:cNvSpPr>
            <a:spLocks noGrp="1"/>
          </p:cNvSpPr>
          <p:nvPr>
            <p:ph type="title"/>
          </p:nvPr>
        </p:nvSpPr>
        <p:spPr/>
        <p:txBody>
          <a:bodyPr/>
          <a:lstStyle/>
          <a:p>
            <a:r>
              <a:rPr lang="nl-BE" dirty="0" err="1"/>
              <a:t>Which</a:t>
            </a:r>
            <a:r>
              <a:rPr lang="nl-BE" dirty="0"/>
              <a:t> </a:t>
            </a:r>
            <a:r>
              <a:rPr lang="nl-BE" dirty="0" err="1"/>
              <a:t>chart</a:t>
            </a:r>
            <a:r>
              <a:rPr lang="nl-BE" dirty="0"/>
              <a:t> </a:t>
            </a:r>
            <a:r>
              <a:rPr lang="nl-BE" dirty="0" err="1"/>
              <a:t>when</a:t>
            </a:r>
            <a:r>
              <a:rPr lang="nl-BE" dirty="0"/>
              <a:t>?</a:t>
            </a:r>
            <a:endParaRPr lang="en-GB" dirty="0"/>
          </a:p>
        </p:txBody>
      </p:sp>
      <p:graphicFrame>
        <p:nvGraphicFramePr>
          <p:cNvPr id="4" name="Content Placeholder 3">
            <a:extLst>
              <a:ext uri="{FF2B5EF4-FFF2-40B4-BE49-F238E27FC236}">
                <a16:creationId xmlns:a16="http://schemas.microsoft.com/office/drawing/2014/main" id="{FE24664B-D3C3-906B-0C75-19CB374F6475}"/>
              </a:ext>
            </a:extLst>
          </p:cNvPr>
          <p:cNvGraphicFramePr>
            <a:graphicFrameLocks noGrp="1"/>
          </p:cNvGraphicFramePr>
          <p:nvPr>
            <p:ph idx="1"/>
            <p:extLst>
              <p:ext uri="{D42A27DB-BD31-4B8C-83A1-F6EECF244321}">
                <p14:modId xmlns:p14="http://schemas.microsoft.com/office/powerpoint/2010/main" val="2966710218"/>
              </p:ext>
            </p:extLst>
          </p:nvPr>
        </p:nvGraphicFramePr>
        <p:xfrm>
          <a:off x="609601" y="1787703"/>
          <a:ext cx="10972799" cy="3619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4356994"/>
      </p:ext>
    </p:extLst>
  </p:cSld>
  <p:clrMapOvr>
    <a:masterClrMapping/>
  </p:clrMapOvr>
  <p:transition spd="slow">
    <p:push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350BC-0F2A-BA17-C3E8-AB691E4D0F18}"/>
              </a:ext>
            </a:extLst>
          </p:cNvPr>
          <p:cNvSpPr>
            <a:spLocks noGrp="1"/>
          </p:cNvSpPr>
          <p:nvPr>
            <p:ph type="title"/>
          </p:nvPr>
        </p:nvSpPr>
        <p:spPr/>
        <p:txBody>
          <a:bodyPr/>
          <a:lstStyle/>
          <a:p>
            <a:r>
              <a:rPr lang="nl-BE" dirty="0" err="1"/>
              <a:t>Which</a:t>
            </a:r>
            <a:r>
              <a:rPr lang="nl-BE" dirty="0"/>
              <a:t> </a:t>
            </a:r>
            <a:r>
              <a:rPr lang="nl-BE" dirty="0" err="1"/>
              <a:t>chart</a:t>
            </a:r>
            <a:r>
              <a:rPr lang="nl-BE" dirty="0"/>
              <a:t> </a:t>
            </a:r>
            <a:r>
              <a:rPr lang="nl-BE" dirty="0" err="1"/>
              <a:t>when</a:t>
            </a:r>
            <a:r>
              <a:rPr lang="nl-BE" dirty="0"/>
              <a:t> 2?</a:t>
            </a:r>
            <a:endParaRPr lang="en-GB" dirty="0"/>
          </a:p>
        </p:txBody>
      </p:sp>
      <p:graphicFrame>
        <p:nvGraphicFramePr>
          <p:cNvPr id="5" name="Content Placeholder 3">
            <a:extLst>
              <a:ext uri="{FF2B5EF4-FFF2-40B4-BE49-F238E27FC236}">
                <a16:creationId xmlns:a16="http://schemas.microsoft.com/office/drawing/2014/main" id="{684F4AC4-C287-3728-76ED-DB6FE1305310}"/>
              </a:ext>
            </a:extLst>
          </p:cNvPr>
          <p:cNvGraphicFramePr>
            <a:graphicFrameLocks/>
          </p:cNvGraphicFramePr>
          <p:nvPr>
            <p:extLst>
              <p:ext uri="{D42A27DB-BD31-4B8C-83A1-F6EECF244321}">
                <p14:modId xmlns:p14="http://schemas.microsoft.com/office/powerpoint/2010/main" val="850299742"/>
              </p:ext>
            </p:extLst>
          </p:nvPr>
        </p:nvGraphicFramePr>
        <p:xfrm>
          <a:off x="849886" y="1746607"/>
          <a:ext cx="10492228" cy="38193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4320878"/>
      </p:ext>
    </p:extLst>
  </p:cSld>
  <p:clrMapOvr>
    <a:masterClrMapping/>
  </p:clrMapOvr>
  <p:transition spd="slow">
    <p:push dir="r"/>
  </p:transition>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F08BF13-B878-AA0B-1494-E664E5B0FDE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33420" y="197708"/>
            <a:ext cx="9057454" cy="646258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853805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racture"/>
        <p:sndAc>
          <p:stSnd>
            <p:snd r:embed="rId3" name="explode.wav"/>
          </p:stSnd>
        </p:sndAc>
      </p:transition>
    </mc:Choice>
    <mc:Fallback xmlns="">
      <p:transition spd="slow">
        <p:fade/>
        <p:sndAc>
          <p:stSnd>
            <p:snd r:embed="rId5" name="explode.wav"/>
          </p:stSnd>
        </p:sndAc>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D2B9C-6DAB-FD51-0E60-51486E28B915}"/>
              </a:ext>
            </a:extLst>
          </p:cNvPr>
          <p:cNvSpPr>
            <a:spLocks noGrp="1"/>
          </p:cNvSpPr>
          <p:nvPr>
            <p:ph type="title"/>
          </p:nvPr>
        </p:nvSpPr>
        <p:spPr>
          <a:xfrm>
            <a:off x="1097280" y="286604"/>
            <a:ext cx="3370548" cy="1229680"/>
          </a:xfrm>
        </p:spPr>
        <p:txBody>
          <a:bodyPr>
            <a:normAutofit fontScale="90000"/>
          </a:bodyPr>
          <a:lstStyle/>
          <a:p>
            <a:r>
              <a:rPr lang="en-GB" dirty="0"/>
              <a:t>The art </a:t>
            </a:r>
            <a:br>
              <a:rPr lang="en-GB" dirty="0"/>
            </a:br>
            <a:r>
              <a:rPr lang="en-GB" dirty="0"/>
              <a:t>of presenting</a:t>
            </a:r>
          </a:p>
        </p:txBody>
      </p:sp>
      <p:graphicFrame>
        <p:nvGraphicFramePr>
          <p:cNvPr id="3" name="Content Placeholder 2">
            <a:extLst>
              <a:ext uri="{FF2B5EF4-FFF2-40B4-BE49-F238E27FC236}">
                <a16:creationId xmlns:a16="http://schemas.microsoft.com/office/drawing/2014/main" id="{AFC01E35-13D6-4831-94CE-FD26B59C011E}"/>
              </a:ext>
            </a:extLst>
          </p:cNvPr>
          <p:cNvGraphicFramePr>
            <a:graphicFrameLocks noGrp="1"/>
          </p:cNvGraphicFramePr>
          <p:nvPr>
            <p:ph idx="1"/>
            <p:extLst>
              <p:ext uri="{D42A27DB-BD31-4B8C-83A1-F6EECF244321}">
                <p14:modId xmlns:p14="http://schemas.microsoft.com/office/powerpoint/2010/main" val="1697672122"/>
              </p:ext>
            </p:extLst>
          </p:nvPr>
        </p:nvGraphicFramePr>
        <p:xfrm>
          <a:off x="4849793" y="413926"/>
          <a:ext cx="4988690" cy="55586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686894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F08BF13-B878-AA0B-1494-E664E5B0FDE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86073" y="1853514"/>
            <a:ext cx="9819853" cy="3867665"/>
          </a:xfrm>
          <a:prstGeom prst="rect">
            <a:avLst/>
          </a:prstGeom>
          <a:ln>
            <a:noFill/>
          </a:ln>
          <a:effectLst>
            <a:outerShdw blurRad="292100" dist="139700" dir="2700000" algn="tl" rotWithShape="0">
              <a:srgbClr val="333333">
                <a:alpha val="65000"/>
              </a:srgbClr>
            </a:outerShdw>
          </a:effectLst>
        </p:spPr>
      </p:pic>
      <p:sp>
        <p:nvSpPr>
          <p:cNvPr id="4" name="Titel 3">
            <a:extLst>
              <a:ext uri="{FF2B5EF4-FFF2-40B4-BE49-F238E27FC236}">
                <a16:creationId xmlns:a16="http://schemas.microsoft.com/office/drawing/2014/main" id="{DC97CC8D-62CB-1DB3-4A7D-FF9322EB398C}"/>
              </a:ext>
            </a:extLst>
          </p:cNvPr>
          <p:cNvSpPr>
            <a:spLocks noGrp="1"/>
          </p:cNvSpPr>
          <p:nvPr>
            <p:ph type="title"/>
          </p:nvPr>
        </p:nvSpPr>
        <p:spPr/>
        <p:txBody>
          <a:bodyPr/>
          <a:lstStyle/>
          <a:p>
            <a:r>
              <a:rPr lang="nl-BE" dirty="0" err="1"/>
              <a:t>Morphing</a:t>
            </a:r>
            <a:r>
              <a:rPr lang="nl-BE" dirty="0"/>
              <a:t> effect</a:t>
            </a:r>
          </a:p>
        </p:txBody>
      </p:sp>
    </p:spTree>
    <p:extLst>
      <p:ext uri="{BB962C8B-B14F-4D97-AF65-F5344CB8AC3E}">
        <p14:creationId xmlns:p14="http://schemas.microsoft.com/office/powerpoint/2010/main" val="14921385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EAAB4D-1ACD-7A96-92D8-866EF365F42C}"/>
              </a:ext>
            </a:extLst>
          </p:cNvPr>
          <p:cNvSpPr>
            <a:spLocks noGrp="1"/>
          </p:cNvSpPr>
          <p:nvPr>
            <p:ph type="title"/>
          </p:nvPr>
        </p:nvSpPr>
        <p:spPr/>
        <p:txBody>
          <a:bodyPr/>
          <a:lstStyle/>
          <a:p>
            <a:r>
              <a:rPr lang="nl-BE" dirty="0"/>
              <a:t>Extra</a:t>
            </a:r>
          </a:p>
        </p:txBody>
      </p:sp>
      <p:sp>
        <p:nvSpPr>
          <p:cNvPr id="5" name="Text Placeholder 4">
            <a:extLst>
              <a:ext uri="{FF2B5EF4-FFF2-40B4-BE49-F238E27FC236}">
                <a16:creationId xmlns:a16="http://schemas.microsoft.com/office/drawing/2014/main" id="{DCF79D5D-61ED-7348-54C0-7DFB2D3E9476}"/>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981708615"/>
      </p:ext>
    </p:extLst>
  </p:cSld>
  <p:clrMapOvr>
    <a:masterClrMapping/>
  </p:clrMapOvr>
  <p:transition spd="slow">
    <p:push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FB468F2-00DE-E954-6FB1-BDB428BB4D98}"/>
              </a:ext>
            </a:extLst>
          </p:cNvPr>
          <p:cNvSpPr txBox="1"/>
          <p:nvPr/>
        </p:nvSpPr>
        <p:spPr>
          <a:xfrm>
            <a:off x="789272" y="192505"/>
            <a:ext cx="10828421" cy="5101390"/>
          </a:xfrm>
          <a:prstGeom prst="rect">
            <a:avLst/>
          </a:prstGeom>
          <a:solidFill>
            <a:schemeClr val="tx1"/>
          </a:solidFill>
        </p:spPr>
        <p:txBody>
          <a:bodyPr wrap="none" lIns="0" tIns="0" rIns="36000" bIns="0" rtlCol="0">
            <a:prstTxWarp prst="textInflate">
              <a:avLst/>
            </a:prstTxWarp>
            <a:spAutoFit/>
          </a:bodyPr>
          <a:lstStyle/>
          <a:p>
            <a:r>
              <a:rPr lang="nl-BE" b="1" spc="-150" dirty="0">
                <a:blipFill>
                  <a:blip r:embed="rId3"/>
                  <a:stretch>
                    <a:fillRect/>
                  </a:stretch>
                </a:blipFill>
                <a:latin typeface="Franklin Gothic Medium" panose="020B0603020102020204" pitchFamily="34" charset="0"/>
              </a:rPr>
              <a:t>- - - - - - - - -</a:t>
            </a:r>
            <a:endParaRPr lang="en-GB" b="1" spc="-150" dirty="0">
              <a:blipFill>
                <a:blip r:embed="rId3"/>
                <a:stretch>
                  <a:fillRect/>
                </a:stretch>
              </a:blipFill>
              <a:latin typeface="Franklin Gothic Medium" panose="020B0603020102020204" pitchFamily="34" charset="0"/>
            </a:endParaRPr>
          </a:p>
        </p:txBody>
      </p:sp>
    </p:spTree>
    <p:extLst>
      <p:ext uri="{BB962C8B-B14F-4D97-AF65-F5344CB8AC3E}">
        <p14:creationId xmlns:p14="http://schemas.microsoft.com/office/powerpoint/2010/main" val="28556950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2770CF-1286-1CF6-0699-0EE006063548}"/>
              </a:ext>
            </a:extLst>
          </p:cNvPr>
          <p:cNvSpPr>
            <a:spLocks noGrp="1"/>
          </p:cNvSpPr>
          <p:nvPr>
            <p:ph type="title" idx="4294967295"/>
          </p:nvPr>
        </p:nvSpPr>
        <p:spPr>
          <a:xfrm>
            <a:off x="2133600" y="287338"/>
            <a:ext cx="10058400" cy="898525"/>
          </a:xfrm>
        </p:spPr>
        <p:txBody>
          <a:bodyPr/>
          <a:lstStyle/>
          <a:p>
            <a:r>
              <a:rPr lang="nl-BE" dirty="0"/>
              <a:t>Picture in </a:t>
            </a:r>
            <a:r>
              <a:rPr lang="nl-BE" dirty="0" err="1"/>
              <a:t>text</a:t>
            </a:r>
            <a:endParaRPr lang="nl-BE" dirty="0"/>
          </a:p>
        </p:txBody>
      </p:sp>
      <p:sp>
        <p:nvSpPr>
          <p:cNvPr id="6" name="TextBox 5">
            <a:extLst>
              <a:ext uri="{FF2B5EF4-FFF2-40B4-BE49-F238E27FC236}">
                <a16:creationId xmlns:a16="http://schemas.microsoft.com/office/drawing/2014/main" id="{36672147-B922-F1AE-D836-A266227820C8}"/>
              </a:ext>
            </a:extLst>
          </p:cNvPr>
          <p:cNvSpPr txBox="1"/>
          <p:nvPr/>
        </p:nvSpPr>
        <p:spPr>
          <a:xfrm>
            <a:off x="568636" y="1531886"/>
            <a:ext cx="11054728" cy="4503154"/>
          </a:xfrm>
          <a:prstGeom prst="rect">
            <a:avLst/>
          </a:prstGeom>
          <a:noFill/>
        </p:spPr>
        <p:txBody>
          <a:bodyPr wrap="square" lIns="0" tIns="0" rIns="0" bIns="0" rtlCol="0">
            <a:prstTxWarp prst="textPlain">
              <a:avLst/>
            </a:prstTxWarp>
            <a:spAutoFit/>
          </a:bodyPr>
          <a:lstStyle/>
          <a:p>
            <a:pPr algn="ctr">
              <a:lnSpc>
                <a:spcPts val="18500"/>
              </a:lnSpc>
            </a:pPr>
            <a:r>
              <a:rPr lang="nl-BE" sz="25000" spc="-2000" dirty="0">
                <a:ln w="15875">
                  <a:solidFill>
                    <a:schemeClr val="accent3">
                      <a:lumMod val="75000"/>
                    </a:schemeClr>
                  </a:solidFill>
                </a:ln>
                <a:blipFill dpi="0"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a:tile tx="-228600" ty="-2368550" sx="68000" sy="79000" flip="none" algn="tl"/>
                </a:blipFill>
                <a:latin typeface="Arial Black" panose="020B0A04020102020204" pitchFamily="34" charset="0"/>
              </a:rPr>
              <a:t>PowerPoint</a:t>
            </a:r>
          </a:p>
        </p:txBody>
      </p:sp>
    </p:spTree>
    <p:extLst>
      <p:ext uri="{BB962C8B-B14F-4D97-AF65-F5344CB8AC3E}">
        <p14:creationId xmlns:p14="http://schemas.microsoft.com/office/powerpoint/2010/main" val="272309011"/>
      </p:ext>
    </p:extLst>
  </p:cSld>
  <p:clrMapOvr>
    <a:masterClrMapping/>
  </p:clrMapOvr>
  <p:transition spd="slow">
    <p:push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E7481F-62BB-28FE-E1C2-8E46AA118B08}"/>
              </a:ext>
            </a:extLst>
          </p:cNvPr>
          <p:cNvSpPr>
            <a:spLocks noGrp="1"/>
          </p:cNvSpPr>
          <p:nvPr>
            <p:ph type="title"/>
          </p:nvPr>
        </p:nvSpPr>
        <p:spPr/>
        <p:txBody>
          <a:bodyPr/>
          <a:lstStyle/>
          <a:p>
            <a:r>
              <a:rPr lang="nl-BE" dirty="0"/>
              <a:t>Links</a:t>
            </a:r>
            <a:endParaRPr lang="en-GB" dirty="0"/>
          </a:p>
        </p:txBody>
      </p:sp>
      <p:sp>
        <p:nvSpPr>
          <p:cNvPr id="5" name="Content Placeholder 4">
            <a:extLst>
              <a:ext uri="{FF2B5EF4-FFF2-40B4-BE49-F238E27FC236}">
                <a16:creationId xmlns:a16="http://schemas.microsoft.com/office/drawing/2014/main" id="{F498C2C4-B1AC-C7C4-48F0-5BD414E3EB37}"/>
              </a:ext>
            </a:extLst>
          </p:cNvPr>
          <p:cNvSpPr>
            <a:spLocks noGrp="1"/>
          </p:cNvSpPr>
          <p:nvPr>
            <p:ph idx="1"/>
          </p:nvPr>
        </p:nvSpPr>
        <p:spPr/>
        <p:txBody>
          <a:bodyPr/>
          <a:lstStyle/>
          <a:p>
            <a:r>
              <a:rPr lang="en-GB" sz="1800" b="0" i="0" u="none" strike="noStrike" baseline="0" dirty="0">
                <a:solidFill>
                  <a:srgbClr val="0000FF"/>
                </a:solidFill>
                <a:latin typeface="Calibri" panose="020F0502020204030204" pitchFamily="34" charset="0"/>
                <a:hlinkClick r:id="rId2"/>
              </a:rPr>
              <a:t>www.edwardtufte.com</a:t>
            </a:r>
            <a:endParaRPr lang="en-GB" sz="1800" b="0" i="0" u="none" strike="noStrike" baseline="0" dirty="0">
              <a:solidFill>
                <a:srgbClr val="0000FF"/>
              </a:solidFill>
              <a:latin typeface="Calibri" panose="020F0502020204030204" pitchFamily="34" charset="0"/>
            </a:endParaRPr>
          </a:p>
          <a:p>
            <a:r>
              <a:rPr lang="en-GB" sz="1800" dirty="0">
                <a:hlinkClick r:id="rId3"/>
              </a:rPr>
              <a:t>www.perceptualedge.com</a:t>
            </a:r>
            <a:endParaRPr lang="en-GB" sz="1800" dirty="0"/>
          </a:p>
          <a:p>
            <a:endParaRPr lang="en-GB" sz="1800" dirty="0"/>
          </a:p>
          <a:p>
            <a:endParaRPr lang="en-GB" sz="1800" b="0" i="0" u="none" strike="noStrike" baseline="0" dirty="0">
              <a:solidFill>
                <a:srgbClr val="0000FF"/>
              </a:solidFill>
              <a:latin typeface="Calibri" panose="020F0502020204030204" pitchFamily="34" charset="0"/>
            </a:endParaRPr>
          </a:p>
          <a:p>
            <a:endParaRPr lang="en-GB" dirty="0"/>
          </a:p>
        </p:txBody>
      </p:sp>
      <p:pic>
        <p:nvPicPr>
          <p:cNvPr id="1026" name="Picture 2">
            <a:extLst>
              <a:ext uri="{FF2B5EF4-FFF2-40B4-BE49-F238E27FC236}">
                <a16:creationId xmlns:a16="http://schemas.microsoft.com/office/drawing/2014/main" id="{B35694E0-1084-31E0-C3C7-DCF62ABF3D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48417" y="286604"/>
            <a:ext cx="7631206" cy="5891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24898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BF5CEE-9390-101F-B187-85976404157D}"/>
              </a:ext>
            </a:extLst>
          </p:cNvPr>
          <p:cNvSpPr>
            <a:spLocks noGrp="1"/>
          </p:cNvSpPr>
          <p:nvPr>
            <p:ph type="title"/>
          </p:nvPr>
        </p:nvSpPr>
        <p:spPr/>
        <p:txBody>
          <a:bodyPr/>
          <a:lstStyle/>
          <a:p>
            <a:r>
              <a:rPr lang="nl-BE" dirty="0"/>
              <a:t>Review</a:t>
            </a:r>
            <a:endParaRPr lang="en-GB" dirty="0"/>
          </a:p>
        </p:txBody>
      </p:sp>
      <p:grpSp>
        <p:nvGrpSpPr>
          <p:cNvPr id="8" name="Group 7">
            <a:extLst>
              <a:ext uri="{FF2B5EF4-FFF2-40B4-BE49-F238E27FC236}">
                <a16:creationId xmlns:a16="http://schemas.microsoft.com/office/drawing/2014/main" id="{E164508C-4FF5-1B8C-497F-0D5CDB5CFCF4}"/>
              </a:ext>
            </a:extLst>
          </p:cNvPr>
          <p:cNvGrpSpPr/>
          <p:nvPr/>
        </p:nvGrpSpPr>
        <p:grpSpPr>
          <a:xfrm>
            <a:off x="5231635" y="465764"/>
            <a:ext cx="4552950" cy="5552278"/>
            <a:chOff x="5173762" y="581511"/>
            <a:chExt cx="4552950" cy="5552278"/>
          </a:xfrm>
        </p:grpSpPr>
        <p:pic>
          <p:nvPicPr>
            <p:cNvPr id="6" name="Picture 5">
              <a:extLst>
                <a:ext uri="{FF2B5EF4-FFF2-40B4-BE49-F238E27FC236}">
                  <a16:creationId xmlns:a16="http://schemas.microsoft.com/office/drawing/2014/main" id="{534D3116-6A69-053E-BA05-7478D77FA604}"/>
                </a:ext>
              </a:extLst>
            </p:cNvPr>
            <p:cNvPicPr>
              <a:picLocks noChangeAspect="1"/>
            </p:cNvPicPr>
            <p:nvPr/>
          </p:nvPicPr>
          <p:blipFill rotWithShape="1">
            <a:blip r:embed="rId2"/>
            <a:srcRect t="12572" b="2805"/>
            <a:stretch/>
          </p:blipFill>
          <p:spPr>
            <a:xfrm>
              <a:off x="5173762" y="581511"/>
              <a:ext cx="4552950" cy="5069943"/>
            </a:xfrm>
            <a:prstGeom prst="rect">
              <a:avLst/>
            </a:prstGeom>
          </p:spPr>
        </p:pic>
        <p:sp>
          <p:nvSpPr>
            <p:cNvPr id="7" name="TextBox 6">
              <a:extLst>
                <a:ext uri="{FF2B5EF4-FFF2-40B4-BE49-F238E27FC236}">
                  <a16:creationId xmlns:a16="http://schemas.microsoft.com/office/drawing/2014/main" id="{77A91498-B0C6-EEC0-764C-F651851C0EAA}"/>
                </a:ext>
              </a:extLst>
            </p:cNvPr>
            <p:cNvSpPr txBox="1"/>
            <p:nvPr/>
          </p:nvSpPr>
          <p:spPr>
            <a:xfrm>
              <a:off x="6720839" y="5856790"/>
              <a:ext cx="1458797" cy="276999"/>
            </a:xfrm>
            <a:prstGeom prst="rect">
              <a:avLst/>
            </a:prstGeom>
            <a:noFill/>
          </p:spPr>
          <p:txBody>
            <a:bodyPr wrap="none" rtlCol="0">
              <a:spAutoFit/>
            </a:bodyPr>
            <a:lstStyle/>
            <a:p>
              <a:r>
                <a:rPr lang="nl-BE" sz="1200" dirty="0"/>
                <a:t>www.eureka-tp.com</a:t>
              </a:r>
              <a:endParaRPr lang="en-GB" sz="1200" dirty="0"/>
            </a:p>
          </p:txBody>
        </p:sp>
      </p:grpSp>
    </p:spTree>
    <p:extLst>
      <p:ext uri="{BB962C8B-B14F-4D97-AF65-F5344CB8AC3E}">
        <p14:creationId xmlns:p14="http://schemas.microsoft.com/office/powerpoint/2010/main" val="33274090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7BF8C-D5B5-A74B-85EA-71450646691B}"/>
              </a:ext>
            </a:extLst>
          </p:cNvPr>
          <p:cNvSpPr>
            <a:spLocks noGrp="1"/>
          </p:cNvSpPr>
          <p:nvPr>
            <p:ph type="title"/>
          </p:nvPr>
        </p:nvSpPr>
        <p:spPr/>
        <p:txBody>
          <a:bodyPr/>
          <a:lstStyle/>
          <a:p>
            <a:r>
              <a:rPr lang="nl-BE" dirty="0" err="1"/>
              <a:t>Challenges</a:t>
            </a:r>
            <a:endParaRPr lang="en-GB" dirty="0"/>
          </a:p>
        </p:txBody>
      </p:sp>
      <p:sp>
        <p:nvSpPr>
          <p:cNvPr id="3" name="Content Placeholder 2">
            <a:extLst>
              <a:ext uri="{FF2B5EF4-FFF2-40B4-BE49-F238E27FC236}">
                <a16:creationId xmlns:a16="http://schemas.microsoft.com/office/drawing/2014/main" id="{64FA4DA7-549D-D7E4-1A67-F42AE93F38D0}"/>
              </a:ext>
            </a:extLst>
          </p:cNvPr>
          <p:cNvSpPr>
            <a:spLocks noGrp="1"/>
          </p:cNvSpPr>
          <p:nvPr>
            <p:ph idx="1"/>
          </p:nvPr>
        </p:nvSpPr>
        <p:spPr/>
        <p:txBody>
          <a:bodyPr>
            <a:normAutofit lnSpcReduction="10000"/>
          </a:bodyPr>
          <a:lstStyle/>
          <a:p>
            <a:r>
              <a:rPr lang="en-GB" dirty="0"/>
              <a:t>Reducing text &amp; slides</a:t>
            </a:r>
          </a:p>
          <a:p>
            <a:r>
              <a:rPr lang="en-GB" dirty="0"/>
              <a:t>Translate content graphically</a:t>
            </a:r>
          </a:p>
          <a:p>
            <a:r>
              <a:rPr lang="en-US" dirty="0"/>
              <a:t>Transform bullet lists</a:t>
            </a:r>
          </a:p>
          <a:p>
            <a:r>
              <a:rPr lang="en-GB" dirty="0"/>
              <a:t>From presenting to teaching</a:t>
            </a:r>
          </a:p>
          <a:p>
            <a:r>
              <a:rPr lang="en-GB" dirty="0"/>
              <a:t>Provide interesting strong content</a:t>
            </a:r>
          </a:p>
          <a:p>
            <a:r>
              <a:rPr lang="en-GB" dirty="0"/>
              <a:t>Content = understood – remembered – believed</a:t>
            </a:r>
          </a:p>
          <a:p>
            <a:r>
              <a:rPr lang="en-GB" dirty="0"/>
              <a:t>Verbal / non verbal communication / Relation</a:t>
            </a:r>
          </a:p>
          <a:p>
            <a:r>
              <a:rPr lang="en-GB" dirty="0"/>
              <a:t>10/20/30 Rule</a:t>
            </a:r>
          </a:p>
          <a:p>
            <a:endParaRPr lang="en-GB" dirty="0"/>
          </a:p>
        </p:txBody>
      </p:sp>
    </p:spTree>
    <p:extLst>
      <p:ext uri="{BB962C8B-B14F-4D97-AF65-F5344CB8AC3E}">
        <p14:creationId xmlns:p14="http://schemas.microsoft.com/office/powerpoint/2010/main" val="424945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err="1"/>
              <a:t>Using</a:t>
            </a:r>
            <a:r>
              <a:rPr lang="fr-BE" dirty="0"/>
              <a:t> </a:t>
            </a:r>
            <a:r>
              <a:rPr lang="fr-BE" dirty="0" err="1"/>
              <a:t>text</a:t>
            </a:r>
            <a:r>
              <a:rPr lang="fr-BE" dirty="0"/>
              <a:t> </a:t>
            </a:r>
            <a:r>
              <a:rPr lang="fr-BE" dirty="0" err="1"/>
              <a:t>wisely</a:t>
            </a:r>
            <a:endParaRPr lang="fr-BE" dirty="0"/>
          </a:p>
        </p:txBody>
      </p:sp>
      <p:sp>
        <p:nvSpPr>
          <p:cNvPr id="3" name="Content Placeholder 2"/>
          <p:cNvSpPr>
            <a:spLocks noGrp="1"/>
          </p:cNvSpPr>
          <p:nvPr>
            <p:ph idx="1"/>
          </p:nvPr>
        </p:nvSpPr>
        <p:spPr>
          <a:xfrm>
            <a:off x="1097280" y="1453495"/>
            <a:ext cx="10058400" cy="4588490"/>
          </a:xfrm>
          <a:solidFill>
            <a:schemeClr val="accent3">
              <a:lumMod val="20000"/>
              <a:lumOff val="80000"/>
            </a:schemeClr>
          </a:solidFill>
        </p:spPr>
        <p:txBody>
          <a:bodyPr>
            <a:normAutofit lnSpcReduction="10000"/>
          </a:bodyPr>
          <a:lstStyle/>
          <a:p>
            <a:r>
              <a:rPr lang="fr-BE" sz="3200" dirty="0"/>
              <a:t>Fonts</a:t>
            </a:r>
          </a:p>
          <a:p>
            <a:pPr lvl="1"/>
            <a:r>
              <a:rPr lang="fr-BE" sz="2400" dirty="0"/>
              <a:t>Sans </a:t>
            </a:r>
            <a:r>
              <a:rPr lang="fr-BE" sz="2400" dirty="0" err="1"/>
              <a:t>serif</a:t>
            </a:r>
            <a:r>
              <a:rPr lang="fr-BE" sz="2400" dirty="0"/>
              <a:t> font</a:t>
            </a:r>
          </a:p>
          <a:p>
            <a:pPr lvl="1"/>
            <a:r>
              <a:rPr lang="fr-BE" sz="2400" dirty="0"/>
              <a:t>2-3 sizes </a:t>
            </a:r>
          </a:p>
          <a:p>
            <a:pPr lvl="1"/>
            <a:r>
              <a:rPr lang="fr-BE" sz="2400" dirty="0" err="1"/>
              <a:t>Larger</a:t>
            </a:r>
            <a:r>
              <a:rPr lang="fr-BE" sz="2400" dirty="0"/>
              <a:t> sizes – 24pt and up</a:t>
            </a:r>
          </a:p>
          <a:p>
            <a:pPr lvl="1"/>
            <a:r>
              <a:rPr lang="fr-BE" sz="2400" dirty="0"/>
              <a:t>Bold/</a:t>
            </a:r>
            <a:r>
              <a:rPr lang="fr-BE" sz="2400" dirty="0" err="1"/>
              <a:t>contrast</a:t>
            </a:r>
            <a:r>
              <a:rPr lang="fr-BE" sz="2400" dirty="0"/>
              <a:t> to </a:t>
            </a:r>
            <a:r>
              <a:rPr lang="fr-BE" sz="2400" dirty="0" err="1"/>
              <a:t>emphasize</a:t>
            </a:r>
            <a:endParaRPr lang="fr-BE" sz="2400" dirty="0"/>
          </a:p>
          <a:p>
            <a:pPr lvl="1"/>
            <a:r>
              <a:rPr lang="fr-BE" sz="2400" dirty="0"/>
              <a:t>No </a:t>
            </a:r>
            <a:r>
              <a:rPr lang="fr-BE" sz="2400" dirty="0" err="1"/>
              <a:t>centering</a:t>
            </a:r>
            <a:r>
              <a:rPr lang="fr-BE" sz="2400" dirty="0"/>
              <a:t> / </a:t>
            </a:r>
            <a:r>
              <a:rPr lang="fr-BE" sz="2400" dirty="0" err="1"/>
              <a:t>capitals</a:t>
            </a:r>
            <a:r>
              <a:rPr lang="fr-BE" sz="2400" dirty="0"/>
              <a:t> / </a:t>
            </a:r>
            <a:r>
              <a:rPr lang="fr-BE" sz="2400" dirty="0" err="1"/>
              <a:t>italic</a:t>
            </a:r>
            <a:endParaRPr lang="fr-BE" sz="2400" dirty="0"/>
          </a:p>
          <a:p>
            <a:r>
              <a:rPr lang="fr-BE" sz="3200" dirty="0" err="1"/>
              <a:t>Minimize</a:t>
            </a:r>
            <a:r>
              <a:rPr lang="fr-BE" sz="3200" dirty="0"/>
              <a:t> </a:t>
            </a:r>
            <a:r>
              <a:rPr lang="fr-BE" sz="3200" dirty="0" err="1"/>
              <a:t>text</a:t>
            </a:r>
            <a:endParaRPr lang="fr-BE" sz="3200" dirty="0"/>
          </a:p>
          <a:p>
            <a:pPr lvl="1"/>
            <a:r>
              <a:rPr lang="fr-BE" sz="2400" dirty="0"/>
              <a:t>Simple key </a:t>
            </a:r>
            <a:r>
              <a:rPr lang="fr-BE" sz="2400" dirty="0" err="1"/>
              <a:t>words</a:t>
            </a:r>
            <a:endParaRPr lang="fr-BE" sz="2400" dirty="0"/>
          </a:p>
          <a:p>
            <a:pPr lvl="1"/>
            <a:r>
              <a:rPr lang="fr-BE" sz="2400" dirty="0"/>
              <a:t>Short sentences – 1/6/6 </a:t>
            </a:r>
            <a:r>
              <a:rPr lang="fr-BE" sz="2400" dirty="0" err="1"/>
              <a:t>rule</a:t>
            </a:r>
            <a:endParaRPr lang="fr-BE" sz="2400" dirty="0"/>
          </a:p>
          <a:p>
            <a:pPr lvl="1"/>
            <a:r>
              <a:rPr lang="fr-BE" sz="2400" dirty="0"/>
              <a:t>Round figures</a:t>
            </a:r>
          </a:p>
          <a:p>
            <a:pPr lvl="1"/>
            <a:r>
              <a:rPr lang="fr-BE" sz="2400" dirty="0"/>
              <a:t>Use </a:t>
            </a:r>
            <a:r>
              <a:rPr lang="fr-BE" sz="2400" dirty="0" err="1"/>
              <a:t>symbols</a:t>
            </a:r>
            <a:r>
              <a:rPr lang="fr-BE" sz="2400" dirty="0"/>
              <a:t> to replace </a:t>
            </a:r>
            <a:r>
              <a:rPr lang="fr-BE" sz="2400" dirty="0" err="1"/>
              <a:t>text</a:t>
            </a:r>
            <a:endParaRPr lang="fr-BE" sz="2400" dirty="0"/>
          </a:p>
          <a:p>
            <a:endParaRPr lang="fr-BE" sz="3200" dirty="0"/>
          </a:p>
          <a:p>
            <a:endParaRPr lang="fr-BE" sz="3200" dirty="0"/>
          </a:p>
          <a:p>
            <a:endParaRPr lang="fr-BE" sz="3200" dirty="0"/>
          </a:p>
          <a:p>
            <a:endParaRPr lang="fr-BE" sz="3200" dirty="0"/>
          </a:p>
          <a:p>
            <a:endParaRPr lang="fr-BE" sz="3200" dirty="0"/>
          </a:p>
        </p:txBody>
      </p:sp>
    </p:spTree>
    <p:extLst>
      <p:ext uri="{BB962C8B-B14F-4D97-AF65-F5344CB8AC3E}">
        <p14:creationId xmlns:p14="http://schemas.microsoft.com/office/powerpoint/2010/main" val="23328940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err="1"/>
              <a:t>Using</a:t>
            </a:r>
            <a:r>
              <a:rPr lang="fr-BE" dirty="0"/>
              <a:t> </a:t>
            </a:r>
            <a:r>
              <a:rPr lang="fr-BE" dirty="0" err="1"/>
              <a:t>text</a:t>
            </a:r>
            <a:r>
              <a:rPr lang="fr-BE" dirty="0"/>
              <a:t> </a:t>
            </a:r>
            <a:r>
              <a:rPr lang="fr-BE" dirty="0" err="1"/>
              <a:t>wisely</a:t>
            </a:r>
            <a:endParaRPr lang="fr-BE" dirty="0"/>
          </a:p>
        </p:txBody>
      </p:sp>
      <p:graphicFrame>
        <p:nvGraphicFramePr>
          <p:cNvPr id="4" name="Content Placeholder 3">
            <a:extLst>
              <a:ext uri="{FF2B5EF4-FFF2-40B4-BE49-F238E27FC236}">
                <a16:creationId xmlns:a16="http://schemas.microsoft.com/office/drawing/2014/main" id="{E65CCAEE-BA19-8A24-B5D7-61D6262A4AC1}"/>
              </a:ext>
            </a:extLst>
          </p:cNvPr>
          <p:cNvGraphicFramePr>
            <a:graphicFrameLocks noGrp="1"/>
          </p:cNvGraphicFramePr>
          <p:nvPr>
            <p:ph idx="1"/>
            <p:extLst>
              <p:ext uri="{D42A27DB-BD31-4B8C-83A1-F6EECF244321}">
                <p14:modId xmlns:p14="http://schemas.microsoft.com/office/powerpoint/2010/main" val="1080693196"/>
              </p:ext>
            </p:extLst>
          </p:nvPr>
        </p:nvGraphicFramePr>
        <p:xfrm>
          <a:off x="1096963" y="1846263"/>
          <a:ext cx="10058400" cy="40227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00204837"/>
      </p:ext>
    </p:extLst>
  </p:cSld>
  <p:clrMapOvr>
    <a:masterClrMapping/>
  </p:clrMapOvr>
  <p:transition spd="slow">
    <p:push dir="r"/>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9B889-F6FC-A3BB-4590-3ED68F76167F}"/>
              </a:ext>
            </a:extLst>
          </p:cNvPr>
          <p:cNvSpPr>
            <a:spLocks noGrp="1"/>
          </p:cNvSpPr>
          <p:nvPr>
            <p:ph type="title"/>
          </p:nvPr>
        </p:nvSpPr>
        <p:spPr/>
        <p:txBody>
          <a:bodyPr/>
          <a:lstStyle/>
          <a:p>
            <a:r>
              <a:rPr lang="en-GB" dirty="0"/>
              <a:t>Present content strategically</a:t>
            </a:r>
          </a:p>
        </p:txBody>
      </p:sp>
      <p:sp>
        <p:nvSpPr>
          <p:cNvPr id="3" name="Content Placeholder 2">
            <a:extLst>
              <a:ext uri="{FF2B5EF4-FFF2-40B4-BE49-F238E27FC236}">
                <a16:creationId xmlns:a16="http://schemas.microsoft.com/office/drawing/2014/main" id="{784558E4-BF86-44B7-8B24-766680A9C71E}"/>
              </a:ext>
            </a:extLst>
          </p:cNvPr>
          <p:cNvSpPr>
            <a:spLocks noGrp="1"/>
          </p:cNvSpPr>
          <p:nvPr>
            <p:ph idx="1"/>
          </p:nvPr>
        </p:nvSpPr>
        <p:spPr/>
        <p:txBody>
          <a:bodyPr>
            <a:normAutofit/>
          </a:bodyPr>
          <a:lstStyle/>
          <a:p>
            <a:r>
              <a:rPr lang="en-GB" dirty="0"/>
              <a:t>Use short, meaningful, compact phrases</a:t>
            </a:r>
          </a:p>
          <a:p>
            <a:r>
              <a:rPr lang="en-GB" dirty="0"/>
              <a:t>Develop 1 idea at the time</a:t>
            </a:r>
          </a:p>
          <a:p>
            <a:r>
              <a:rPr lang="en-GB" dirty="0"/>
              <a:t>What is my main message? And put it in the title</a:t>
            </a:r>
          </a:p>
          <a:p>
            <a:r>
              <a:rPr lang="en-GB" dirty="0"/>
              <a:t>What, when, who, why, where, how?</a:t>
            </a:r>
          </a:p>
          <a:p>
            <a:r>
              <a:rPr lang="en-GB" dirty="0"/>
              <a:t>Use a built-up structure and consider the overall curve </a:t>
            </a:r>
          </a:p>
          <a:p>
            <a:r>
              <a:rPr lang="en-GB" dirty="0"/>
              <a:t>Tailor the objectives and empathize with your public</a:t>
            </a:r>
          </a:p>
          <a:p>
            <a:r>
              <a:rPr lang="en-GB" dirty="0"/>
              <a:t>Use paper hand-outs with strategic, detailed data where needed</a:t>
            </a:r>
          </a:p>
          <a:p>
            <a:endParaRPr lang="en-GB" dirty="0"/>
          </a:p>
        </p:txBody>
      </p:sp>
    </p:spTree>
    <p:extLst>
      <p:ext uri="{BB962C8B-B14F-4D97-AF65-F5344CB8AC3E}">
        <p14:creationId xmlns:p14="http://schemas.microsoft.com/office/powerpoint/2010/main" val="6206242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Override1.xml.rels><?xml version="1.0" encoding="UTF-8" standalone="yes"?>
<Relationships xmlns="http://schemas.openxmlformats.org/package/2006/relationships"><Relationship Id="rId1" Type="http://schemas.openxmlformats.org/officeDocument/2006/relationships/image" Target="../media/image58.jpeg"/></Relationships>
</file>

<file path=ppt/theme/theme1.xml><?xml version="1.0" encoding="utf-8"?>
<a:theme xmlns:a="http://schemas.openxmlformats.org/drawingml/2006/main" name="Retrospect">
  <a:themeElements>
    <a:clrScheme name="Yellow Orange">
      <a:dk1>
        <a:sysClr val="windowText" lastClr="000000"/>
      </a:dk1>
      <a:lt1>
        <a:sysClr val="window" lastClr="FFFFFF"/>
      </a:lt1>
      <a:dk2>
        <a:srgbClr val="4E3B30"/>
      </a:dk2>
      <a:lt2>
        <a:srgbClr val="FBEEC9"/>
      </a:lt2>
      <a:accent1>
        <a:srgbClr val="F0A22E"/>
      </a:accent1>
      <a:accent2>
        <a:srgbClr val="A5644E"/>
      </a:accent2>
      <a:accent3>
        <a:srgbClr val="B58B80"/>
      </a:accent3>
      <a:accent4>
        <a:srgbClr val="C3986D"/>
      </a:accent4>
      <a:accent5>
        <a:srgbClr val="A19574"/>
      </a:accent5>
      <a:accent6>
        <a:srgbClr val="C17529"/>
      </a:accent6>
      <a:hlink>
        <a:srgbClr val="AD1F1F"/>
      </a:hlink>
      <a:folHlink>
        <a:srgbClr val="FFC42F"/>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oundry">
    <a:dk1>
      <a:sysClr val="windowText" lastClr="000000"/>
    </a:dk1>
    <a:lt1>
      <a:sysClr val="window" lastClr="FFFFFF"/>
    </a:lt1>
    <a:dk2>
      <a:srgbClr val="676A55"/>
    </a:dk2>
    <a:lt2>
      <a:srgbClr val="EAEBDE"/>
    </a:lt2>
    <a:accent1>
      <a:srgbClr val="72A376"/>
    </a:accent1>
    <a:accent2>
      <a:srgbClr val="B0CCB0"/>
    </a:accent2>
    <a:accent3>
      <a:srgbClr val="A8CDD7"/>
    </a:accent3>
    <a:accent4>
      <a:srgbClr val="C0BEAF"/>
    </a:accent4>
    <a:accent5>
      <a:srgbClr val="CEC597"/>
    </a:accent5>
    <a:accent6>
      <a:srgbClr val="E8B7B7"/>
    </a:accent6>
    <a:hlink>
      <a:srgbClr val="DB5353"/>
    </a:hlink>
    <a:folHlink>
      <a:srgbClr val="903638"/>
    </a:folHlink>
  </a:clrScheme>
  <a:fontScheme name="Foundry">
    <a:majorFont>
      <a:latin typeface="Rockwell"/>
      <a:ea typeface=""/>
      <a:cs typeface=""/>
      <a:font script="Grek" typeface="Cambria"/>
      <a:font script="Cyrl" typeface="Cambria"/>
      <a:font script="Jpan" typeface="HG明朝B"/>
      <a:font script="Hang" typeface="바탕"/>
      <a:font script="Hans" typeface="方正姚体"/>
      <a:font script="Hant" typeface="微軟正黑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Rockwell"/>
      <a:ea typeface=""/>
      <a:cs typeface=""/>
      <a:font script="Grek" typeface="Cambria"/>
      <a:font script="Cyrl" typeface="Cambria"/>
      <a:font script="Jpan" typeface="HG明朝B"/>
      <a:font script="Hang" typeface="바탕"/>
      <a:font script="Hans" typeface="方正姚体"/>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75000"/>
              <a:satMod val="400000"/>
            </a:schemeClr>
          </a:gs>
          <a:gs pos="20000">
            <a:schemeClr val="phClr">
              <a:tint val="80000"/>
              <a:satMod val="355000"/>
            </a:schemeClr>
          </a:gs>
          <a:gs pos="100000">
            <a:schemeClr val="phClr">
              <a:tint val="95000"/>
              <a:shade val="55000"/>
              <a:satMod val="355000"/>
            </a:schemeClr>
          </a:gs>
        </a:gsLst>
        <a:path path="circle">
          <a:fillToRect l="67500" t="35000" r="32500" b="65000"/>
        </a:path>
      </a:gradFill>
      <a:blipFill>
        <a:blip xmlns:r="http://schemas.openxmlformats.org/officeDocument/2006/relationships" r:embed="rId1">
          <a:duotone>
            <a:schemeClr val="phClr">
              <a:shade val="30000"/>
              <a:satMod val="120000"/>
            </a:schemeClr>
            <a:schemeClr val="phClr">
              <a:tint val="70000"/>
              <a:satMod val="250000"/>
            </a:schemeClr>
          </a:duotone>
        </a:blip>
        <a:tile tx="0" ty="0" sx="50000" sy="50000" flip="none" algn="t"/>
      </a:blipFill>
    </a:bgFillStyleLst>
  </a:fmtScheme>
</a:themeOverride>
</file>

<file path=docProps/app.xml><?xml version="1.0" encoding="utf-8"?>
<Properties xmlns="http://schemas.openxmlformats.org/officeDocument/2006/extended-properties" xmlns:vt="http://schemas.openxmlformats.org/officeDocument/2006/docPropsVTypes">
  <Template>Retrospect</Template>
  <TotalTime>5664</TotalTime>
  <Words>3453</Words>
  <Application>Microsoft Office PowerPoint</Application>
  <PresentationFormat>Widescreen</PresentationFormat>
  <Paragraphs>613</Paragraphs>
  <Slides>55</Slides>
  <Notes>43</Notes>
  <HiddenSlides>11</HiddenSlides>
  <MMClips>0</MMClips>
  <ScaleCrop>false</ScaleCrop>
  <HeadingPairs>
    <vt:vector size="10"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55</vt:i4>
      </vt:variant>
      <vt:variant>
        <vt:lpstr>Custom Shows</vt:lpstr>
      </vt:variant>
      <vt:variant>
        <vt:i4>2</vt:i4>
      </vt:variant>
    </vt:vector>
  </HeadingPairs>
  <TitlesOfParts>
    <vt:vector size="71" baseType="lpstr">
      <vt:lpstr>Arial</vt:lpstr>
      <vt:lpstr>Arial Black</vt:lpstr>
      <vt:lpstr>Calibri</vt:lpstr>
      <vt:lpstr>Calibri Light</vt:lpstr>
      <vt:lpstr>Franklin Gothic Medium</vt:lpstr>
      <vt:lpstr>Montserrat</vt:lpstr>
      <vt:lpstr>Nunito</vt:lpstr>
      <vt:lpstr>Poppins</vt:lpstr>
      <vt:lpstr>Roboto</vt:lpstr>
      <vt:lpstr>Söhne</vt:lpstr>
      <vt:lpstr>Verdana</vt:lpstr>
      <vt:lpstr>Wingdings</vt:lpstr>
      <vt:lpstr>Retrospect</vt:lpstr>
      <vt:lpstr>think-cell Slide</vt:lpstr>
      <vt:lpstr>PowerPoint Presentations </vt:lpstr>
      <vt:lpstr>PowerPoint Presentation</vt:lpstr>
      <vt:lpstr>Power to the Point</vt:lpstr>
      <vt:lpstr>The art of presenting</vt:lpstr>
      <vt:lpstr>The art  of presenting</vt:lpstr>
      <vt:lpstr>Challenges</vt:lpstr>
      <vt:lpstr>Using text wisely</vt:lpstr>
      <vt:lpstr>Using text wisely</vt:lpstr>
      <vt:lpstr>Present content strategically</vt:lpstr>
      <vt:lpstr>Present content strategically</vt:lpstr>
      <vt:lpstr>How does PWP work?</vt:lpstr>
      <vt:lpstr>The basic interface</vt:lpstr>
      <vt:lpstr>The basic interface</vt:lpstr>
      <vt:lpstr>2 layers</vt:lpstr>
      <vt:lpstr>2 layers and layouts</vt:lpstr>
      <vt:lpstr>Smart art as a start</vt:lpstr>
      <vt:lpstr>Building blocks</vt:lpstr>
      <vt:lpstr>Building blocks – objecten    </vt:lpstr>
      <vt:lpstr>Images</vt:lpstr>
      <vt:lpstr>Images illustrated</vt:lpstr>
      <vt:lpstr>PowerPoint Presentation</vt:lpstr>
      <vt:lpstr>Image formats for PWP</vt:lpstr>
      <vt:lpstr>Integrating Excel Charts</vt:lpstr>
      <vt:lpstr>Animations</vt:lpstr>
      <vt:lpstr>Animations</vt:lpstr>
      <vt:lpstr>Doing the presentation</vt:lpstr>
      <vt:lpstr>Doing the presentation – with icons</vt:lpstr>
      <vt:lpstr>Practice makes …</vt:lpstr>
      <vt:lpstr>NPS?  </vt:lpstr>
      <vt:lpstr>NPS: Net Promoter Score</vt:lpstr>
      <vt:lpstr>Tips and Tricks</vt:lpstr>
      <vt:lpstr>Power Point Tips</vt:lpstr>
      <vt:lpstr>Power Point Tips 1</vt:lpstr>
      <vt:lpstr>Power Point Tips 2</vt:lpstr>
      <vt:lpstr>Power Point Tricks</vt:lpstr>
      <vt:lpstr>Power Point Tricks in 2 columns</vt:lpstr>
      <vt:lpstr>Presentation tips</vt:lpstr>
      <vt:lpstr>Presentation tips – clearly structured</vt:lpstr>
      <vt:lpstr>Data communication</vt:lpstr>
      <vt:lpstr>Meaningful formatting</vt:lpstr>
      <vt:lpstr>Meaningful formatting</vt:lpstr>
      <vt:lpstr>Excel Chart – with data</vt:lpstr>
      <vt:lpstr>Excel Chart 2 : Sales Pallets in Oostende</vt:lpstr>
      <vt:lpstr>Chart examples</vt:lpstr>
      <vt:lpstr>Showing tabular data</vt:lpstr>
      <vt:lpstr>Data rendering with charts</vt:lpstr>
      <vt:lpstr>Which chart when?</vt:lpstr>
      <vt:lpstr>Which chart when 2?</vt:lpstr>
      <vt:lpstr>PowerPoint Presentation</vt:lpstr>
      <vt:lpstr>Morphing effect</vt:lpstr>
      <vt:lpstr>Extra</vt:lpstr>
      <vt:lpstr>PowerPoint Presentation</vt:lpstr>
      <vt:lpstr>Picture in text</vt:lpstr>
      <vt:lpstr>Links</vt:lpstr>
      <vt:lpstr>Review</vt:lpstr>
      <vt:lpstr>Basisopleiding</vt:lpstr>
      <vt:lpstr>PWP + opleid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ps</dc:title>
  <dc:creator>Danny</dc:creator>
  <cp:lastModifiedBy>Danny P</cp:lastModifiedBy>
  <cp:revision>174</cp:revision>
  <cp:lastPrinted>2019-03-21T22:55:40Z</cp:lastPrinted>
  <dcterms:created xsi:type="dcterms:W3CDTF">2019-03-20T20:40:42Z</dcterms:created>
  <dcterms:modified xsi:type="dcterms:W3CDTF">2024-03-04T13:1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5-05T10:45:10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c2d2fea2-5c86-4b8c-8d7b-6eb4b94f1f05</vt:lpwstr>
  </property>
  <property fmtid="{D5CDD505-2E9C-101B-9397-08002B2CF9AE}" pid="7" name="MSIP_Label_defa4170-0d19-0005-0004-bc88714345d2_ActionId">
    <vt:lpwstr>e9624b25-4933-4644-8df5-a4376d2fddcc</vt:lpwstr>
  </property>
  <property fmtid="{D5CDD505-2E9C-101B-9397-08002B2CF9AE}" pid="8" name="MSIP_Label_defa4170-0d19-0005-0004-bc88714345d2_ContentBits">
    <vt:lpwstr>0</vt:lpwstr>
  </property>
</Properties>
</file>